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741" r:id="rId5"/>
  </p:sldMasterIdLst>
  <p:notesMasterIdLst>
    <p:notesMasterId r:id="rId32"/>
  </p:notesMasterIdLst>
  <p:sldIdLst>
    <p:sldId id="394" r:id="rId6"/>
    <p:sldId id="430" r:id="rId7"/>
    <p:sldId id="436" r:id="rId8"/>
    <p:sldId id="624" r:id="rId9"/>
    <p:sldId id="628" r:id="rId10"/>
    <p:sldId id="625" r:id="rId11"/>
    <p:sldId id="626" r:id="rId12"/>
    <p:sldId id="627" r:id="rId13"/>
    <p:sldId id="588" r:id="rId14"/>
    <p:sldId id="587" r:id="rId15"/>
    <p:sldId id="629" r:id="rId16"/>
    <p:sldId id="589" r:id="rId17"/>
    <p:sldId id="630" r:id="rId18"/>
    <p:sldId id="590" r:id="rId19"/>
    <p:sldId id="631" r:id="rId20"/>
    <p:sldId id="591" r:id="rId21"/>
    <p:sldId id="632" r:id="rId22"/>
    <p:sldId id="596" r:id="rId23"/>
    <p:sldId id="597" r:id="rId24"/>
    <p:sldId id="633" r:id="rId25"/>
    <p:sldId id="598" r:id="rId26"/>
    <p:sldId id="634" r:id="rId27"/>
    <p:sldId id="599" r:id="rId28"/>
    <p:sldId id="635" r:id="rId29"/>
    <p:sldId id="594" r:id="rId30"/>
    <p:sldId id="636" r:id="rId31"/>
  </p:sldIdLst>
  <p:sldSz cx="12192000" cy="6858000"/>
  <p:notesSz cx="6858000" cy="9144000"/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8. Model Part 3" id="{CE25109D-E847-40CA-8DEC-066DADDCD4B2}">
          <p14:sldIdLst>
            <p14:sldId id="394"/>
            <p14:sldId id="430"/>
            <p14:sldId id="436"/>
            <p14:sldId id="624"/>
            <p14:sldId id="628"/>
            <p14:sldId id="625"/>
            <p14:sldId id="626"/>
            <p14:sldId id="627"/>
            <p14:sldId id="588"/>
            <p14:sldId id="587"/>
            <p14:sldId id="629"/>
            <p14:sldId id="589"/>
            <p14:sldId id="630"/>
            <p14:sldId id="590"/>
            <p14:sldId id="631"/>
            <p14:sldId id="591"/>
            <p14:sldId id="632"/>
            <p14:sldId id="596"/>
            <p14:sldId id="597"/>
            <p14:sldId id="633"/>
            <p14:sldId id="598"/>
            <p14:sldId id="634"/>
            <p14:sldId id="599"/>
            <p14:sldId id="635"/>
            <p14:sldId id="594"/>
            <p14:sldId id="63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64CEA7E-C07E-FAF2-B2E0-39BB02AD7B64}" name="Shinde, Samwad" initials="SS" userId="S::shindsam@merck.com::40922429-2f7d-4c1d-90df-ddf76551a42d" providerId="AD"/>
  <p188:author id="{4FCA97FB-6B76-332A-043B-AC8FCD5594B2}" name="kapoor, aditya" initials="ka" userId="S::kapooadi@merck.com::681f1a22-e9fb-42b0-aa12-aec6248a717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rck &amp; Co., Inc." initials="LC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57C"/>
    <a:srgbClr val="FFE70B"/>
    <a:srgbClr val="FF0000"/>
    <a:srgbClr val="9EA7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95C66D8-5805-4F1C-8F32-36162F72AF0B}" v="83" dt="2023-09-25T08:44:13.86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6192"/>
  </p:normalViewPr>
  <p:slideViewPr>
    <p:cSldViewPr snapToGrid="0" showGuides="1">
      <p:cViewPr varScale="1">
        <p:scale>
          <a:sx n="70" d="100"/>
          <a:sy n="70" d="100"/>
        </p:scale>
        <p:origin x="468" y="6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417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microsoft.com/office/2015/10/relationships/revisionInfo" Target="revisionInfo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commentAuthors" Target="commentAuthors.xml"/><Relationship Id="rId3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40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ji, Pramit Kumar" userId="baa7b768-3f8f-4765-bcc5-8dac6388f3d1" providerId="ADAL" clId="{695C66D8-5805-4F1C-8F32-36162F72AF0B}"/>
    <pc:docChg chg="undo custSel modSld">
      <pc:chgData name="Maji, Pramit Kumar" userId="baa7b768-3f8f-4765-bcc5-8dac6388f3d1" providerId="ADAL" clId="{695C66D8-5805-4F1C-8F32-36162F72AF0B}" dt="2023-09-25T08:44:13.861" v="185" actId="1076"/>
      <pc:docMkLst>
        <pc:docMk/>
      </pc:docMkLst>
      <pc:sldChg chg="modSp">
        <pc:chgData name="Maji, Pramit Kumar" userId="baa7b768-3f8f-4765-bcc5-8dac6388f3d1" providerId="ADAL" clId="{695C66D8-5805-4F1C-8F32-36162F72AF0B}" dt="2023-09-25T08:13:13.487" v="0" actId="1076"/>
        <pc:sldMkLst>
          <pc:docMk/>
          <pc:sldMk cId="0" sldId="587"/>
        </pc:sldMkLst>
        <pc:spChg chg="mod">
          <ac:chgData name="Maji, Pramit Kumar" userId="baa7b768-3f8f-4765-bcc5-8dac6388f3d1" providerId="ADAL" clId="{695C66D8-5805-4F1C-8F32-36162F72AF0B}" dt="2023-09-25T08:13:13.487" v="0" actId="1076"/>
          <ac:spMkLst>
            <pc:docMk/>
            <pc:sldMk cId="0" sldId="587"/>
            <ac:spMk id="10244" creationId="{903DEDF2-930C-B7B0-9CDC-88B3D11BCEE5}"/>
          </ac:spMkLst>
        </pc:spChg>
      </pc:sldChg>
      <pc:sldChg chg="modSp mod">
        <pc:chgData name="Maji, Pramit Kumar" userId="baa7b768-3f8f-4765-bcc5-8dac6388f3d1" providerId="ADAL" clId="{695C66D8-5805-4F1C-8F32-36162F72AF0B}" dt="2023-09-25T08:41:58.314" v="180" actId="1076"/>
        <pc:sldMkLst>
          <pc:docMk/>
          <pc:sldMk cId="0" sldId="589"/>
        </pc:sldMkLst>
        <pc:spChg chg="mod">
          <ac:chgData name="Maji, Pramit Kumar" userId="baa7b768-3f8f-4765-bcc5-8dac6388f3d1" providerId="ADAL" clId="{695C66D8-5805-4F1C-8F32-36162F72AF0B}" dt="2023-09-25T08:41:58.314" v="180" actId="1076"/>
          <ac:spMkLst>
            <pc:docMk/>
            <pc:sldMk cId="0" sldId="589"/>
            <ac:spMk id="11267" creationId="{975349F3-F835-CC61-32C1-68EC9882804F}"/>
          </ac:spMkLst>
        </pc:spChg>
        <pc:spChg chg="mod">
          <ac:chgData name="Maji, Pramit Kumar" userId="baa7b768-3f8f-4765-bcc5-8dac6388f3d1" providerId="ADAL" clId="{695C66D8-5805-4F1C-8F32-36162F72AF0B}" dt="2023-09-25T08:14:11.995" v="9" actId="1076"/>
          <ac:spMkLst>
            <pc:docMk/>
            <pc:sldMk cId="0" sldId="589"/>
            <ac:spMk id="11268" creationId="{BD18FE48-ED73-47A9-527C-A9C371D9D112}"/>
          </ac:spMkLst>
        </pc:spChg>
        <pc:graphicFrameChg chg="mod">
          <ac:chgData name="Maji, Pramit Kumar" userId="baa7b768-3f8f-4765-bcc5-8dac6388f3d1" providerId="ADAL" clId="{695C66D8-5805-4F1C-8F32-36162F72AF0B}" dt="2023-09-25T08:14:22.554" v="10" actId="1076"/>
          <ac:graphicFrameMkLst>
            <pc:docMk/>
            <pc:sldMk cId="0" sldId="589"/>
            <ac:graphicFrameMk id="11269" creationId="{72BAD991-7382-1A45-F2E6-4442D14575DF}"/>
          </ac:graphicFrameMkLst>
        </pc:graphicFrameChg>
      </pc:sldChg>
      <pc:sldChg chg="modSp">
        <pc:chgData name="Maji, Pramit Kumar" userId="baa7b768-3f8f-4765-bcc5-8dac6388f3d1" providerId="ADAL" clId="{695C66D8-5805-4F1C-8F32-36162F72AF0B}" dt="2023-09-25T08:16:06.970" v="19" actId="1076"/>
        <pc:sldMkLst>
          <pc:docMk/>
          <pc:sldMk cId="0" sldId="590"/>
        </pc:sldMkLst>
        <pc:spChg chg="mod">
          <ac:chgData name="Maji, Pramit Kumar" userId="baa7b768-3f8f-4765-bcc5-8dac6388f3d1" providerId="ADAL" clId="{695C66D8-5805-4F1C-8F32-36162F72AF0B}" dt="2023-09-25T08:15:58.531" v="18" actId="1076"/>
          <ac:spMkLst>
            <pc:docMk/>
            <pc:sldMk cId="0" sldId="590"/>
            <ac:spMk id="12291" creationId="{750DCA5F-16F1-2E8D-1C8C-C2CBD62F9D44}"/>
          </ac:spMkLst>
        </pc:spChg>
        <pc:spChg chg="mod">
          <ac:chgData name="Maji, Pramit Kumar" userId="baa7b768-3f8f-4765-bcc5-8dac6388f3d1" providerId="ADAL" clId="{695C66D8-5805-4F1C-8F32-36162F72AF0B}" dt="2023-09-25T08:16:06.970" v="19" actId="1076"/>
          <ac:spMkLst>
            <pc:docMk/>
            <pc:sldMk cId="0" sldId="590"/>
            <ac:spMk id="12292" creationId="{74D160FA-009D-87C2-22AE-86CF80F70B9C}"/>
          </ac:spMkLst>
        </pc:spChg>
      </pc:sldChg>
      <pc:sldChg chg="modSp mod">
        <pc:chgData name="Maji, Pramit Kumar" userId="baa7b768-3f8f-4765-bcc5-8dac6388f3d1" providerId="ADAL" clId="{695C66D8-5805-4F1C-8F32-36162F72AF0B}" dt="2023-09-25T08:19:15.977" v="31" actId="1076"/>
        <pc:sldMkLst>
          <pc:docMk/>
          <pc:sldMk cId="0" sldId="591"/>
        </pc:sldMkLst>
        <pc:spChg chg="mod">
          <ac:chgData name="Maji, Pramit Kumar" userId="baa7b768-3f8f-4765-bcc5-8dac6388f3d1" providerId="ADAL" clId="{695C66D8-5805-4F1C-8F32-36162F72AF0B}" dt="2023-09-25T08:18:45.128" v="28" actId="1076"/>
          <ac:spMkLst>
            <pc:docMk/>
            <pc:sldMk cId="0" sldId="591"/>
            <ac:spMk id="13315" creationId="{1D7FCD76-FEBE-2A81-E37A-EFCAA389F8B6}"/>
          </ac:spMkLst>
        </pc:spChg>
        <pc:spChg chg="mod">
          <ac:chgData name="Maji, Pramit Kumar" userId="baa7b768-3f8f-4765-bcc5-8dac6388f3d1" providerId="ADAL" clId="{695C66D8-5805-4F1C-8F32-36162F72AF0B}" dt="2023-09-25T08:18:59.897" v="29" actId="1076"/>
          <ac:spMkLst>
            <pc:docMk/>
            <pc:sldMk cId="0" sldId="591"/>
            <ac:spMk id="13316" creationId="{4907E435-C34E-A2C8-8356-4DECCCE3C983}"/>
          </ac:spMkLst>
        </pc:spChg>
        <pc:graphicFrameChg chg="mod">
          <ac:chgData name="Maji, Pramit Kumar" userId="baa7b768-3f8f-4765-bcc5-8dac6388f3d1" providerId="ADAL" clId="{695C66D8-5805-4F1C-8F32-36162F72AF0B}" dt="2023-09-25T08:19:15.977" v="31" actId="1076"/>
          <ac:graphicFrameMkLst>
            <pc:docMk/>
            <pc:sldMk cId="0" sldId="591"/>
            <ac:graphicFrameMk id="13317" creationId="{57B695E2-B291-425A-D63F-11EFFEF90AA8}"/>
          </ac:graphicFrameMkLst>
        </pc:graphicFrameChg>
      </pc:sldChg>
      <pc:sldChg chg="modSp mod">
        <pc:chgData name="Maji, Pramit Kumar" userId="baa7b768-3f8f-4765-bcc5-8dac6388f3d1" providerId="ADAL" clId="{695C66D8-5805-4F1C-8F32-36162F72AF0B}" dt="2023-09-25T08:44:13.861" v="185" actId="1076"/>
        <pc:sldMkLst>
          <pc:docMk/>
          <pc:sldMk cId="0" sldId="594"/>
        </pc:sldMkLst>
        <pc:spChg chg="mod">
          <ac:chgData name="Maji, Pramit Kumar" userId="baa7b768-3f8f-4765-bcc5-8dac6388f3d1" providerId="ADAL" clId="{695C66D8-5805-4F1C-8F32-36162F72AF0B}" dt="2023-09-25T08:44:13.861" v="185" actId="1076"/>
          <ac:spMkLst>
            <pc:docMk/>
            <pc:sldMk cId="0" sldId="594"/>
            <ac:spMk id="18435" creationId="{B0A95336-497D-D9A2-67C5-04D9FC02D373}"/>
          </ac:spMkLst>
        </pc:spChg>
        <pc:spChg chg="mod">
          <ac:chgData name="Maji, Pramit Kumar" userId="baa7b768-3f8f-4765-bcc5-8dac6388f3d1" providerId="ADAL" clId="{695C66D8-5805-4F1C-8F32-36162F72AF0B}" dt="2023-09-25T08:38:19.195" v="173" actId="1076"/>
          <ac:spMkLst>
            <pc:docMk/>
            <pc:sldMk cId="0" sldId="594"/>
            <ac:spMk id="18436" creationId="{67440F21-DCAE-D225-1A9A-6ADDAA56C44C}"/>
          </ac:spMkLst>
        </pc:spChg>
        <pc:picChg chg="mod">
          <ac:chgData name="Maji, Pramit Kumar" userId="baa7b768-3f8f-4765-bcc5-8dac6388f3d1" providerId="ADAL" clId="{695C66D8-5805-4F1C-8F32-36162F72AF0B}" dt="2023-09-25T08:37:58.583" v="169" actId="1076"/>
          <ac:picMkLst>
            <pc:docMk/>
            <pc:sldMk cId="0" sldId="594"/>
            <ac:picMk id="18437" creationId="{15062E55-B289-1799-26B0-E101734CC9CB}"/>
          </ac:picMkLst>
        </pc:picChg>
        <pc:picChg chg="mod">
          <ac:chgData name="Maji, Pramit Kumar" userId="baa7b768-3f8f-4765-bcc5-8dac6388f3d1" providerId="ADAL" clId="{695C66D8-5805-4F1C-8F32-36162F72AF0B}" dt="2023-09-25T08:38:03.664" v="170" actId="1076"/>
          <ac:picMkLst>
            <pc:docMk/>
            <pc:sldMk cId="0" sldId="594"/>
            <ac:picMk id="18438" creationId="{30CCFF23-B156-722A-FDD2-DA9416E6B10E}"/>
          </ac:picMkLst>
        </pc:picChg>
      </pc:sldChg>
      <pc:sldChg chg="modSp mod">
        <pc:chgData name="Maji, Pramit Kumar" userId="baa7b768-3f8f-4765-bcc5-8dac6388f3d1" providerId="ADAL" clId="{695C66D8-5805-4F1C-8F32-36162F72AF0B}" dt="2023-09-25T08:43:06.429" v="181" actId="1076"/>
        <pc:sldMkLst>
          <pc:docMk/>
          <pc:sldMk cId="0" sldId="596"/>
        </pc:sldMkLst>
        <pc:spChg chg="mod">
          <ac:chgData name="Maji, Pramit Kumar" userId="baa7b768-3f8f-4765-bcc5-8dac6388f3d1" providerId="ADAL" clId="{695C66D8-5805-4F1C-8F32-36162F72AF0B}" dt="2023-09-25T08:43:06.429" v="181" actId="1076"/>
          <ac:spMkLst>
            <pc:docMk/>
            <pc:sldMk cId="0" sldId="596"/>
            <ac:spMk id="14339" creationId="{1C3083B4-12B4-20D7-DEB3-C1150ED5724B}"/>
          </ac:spMkLst>
        </pc:spChg>
        <pc:spChg chg="mod">
          <ac:chgData name="Maji, Pramit Kumar" userId="baa7b768-3f8f-4765-bcc5-8dac6388f3d1" providerId="ADAL" clId="{695C66D8-5805-4F1C-8F32-36162F72AF0B}" dt="2023-09-25T08:27:19.306" v="125" actId="255"/>
          <ac:spMkLst>
            <pc:docMk/>
            <pc:sldMk cId="0" sldId="596"/>
            <ac:spMk id="14340" creationId="{69B83D9C-6738-D02A-B08C-35D47B117849}"/>
          </ac:spMkLst>
        </pc:spChg>
      </pc:sldChg>
      <pc:sldChg chg="modSp mod">
        <pc:chgData name="Maji, Pramit Kumar" userId="baa7b768-3f8f-4765-bcc5-8dac6388f3d1" providerId="ADAL" clId="{695C66D8-5805-4F1C-8F32-36162F72AF0B}" dt="2023-09-25T08:31:22.383" v="135" actId="20577"/>
        <pc:sldMkLst>
          <pc:docMk/>
          <pc:sldMk cId="0" sldId="597"/>
        </pc:sldMkLst>
        <pc:spChg chg="mod">
          <ac:chgData name="Maji, Pramit Kumar" userId="baa7b768-3f8f-4765-bcc5-8dac6388f3d1" providerId="ADAL" clId="{695C66D8-5805-4F1C-8F32-36162F72AF0B}" dt="2023-09-25T08:31:03.706" v="133" actId="1076"/>
          <ac:spMkLst>
            <pc:docMk/>
            <pc:sldMk cId="0" sldId="597"/>
            <ac:spMk id="15363" creationId="{A6ED3B68-93E1-23FE-D558-97C029CDBA00}"/>
          </ac:spMkLst>
        </pc:spChg>
        <pc:spChg chg="mod">
          <ac:chgData name="Maji, Pramit Kumar" userId="baa7b768-3f8f-4765-bcc5-8dac6388f3d1" providerId="ADAL" clId="{695C66D8-5805-4F1C-8F32-36162F72AF0B}" dt="2023-09-25T08:31:22.383" v="135" actId="20577"/>
          <ac:spMkLst>
            <pc:docMk/>
            <pc:sldMk cId="0" sldId="597"/>
            <ac:spMk id="15364" creationId="{E665D53B-B868-6B3E-D372-A2A6E302B8FA}"/>
          </ac:spMkLst>
        </pc:spChg>
      </pc:sldChg>
      <pc:sldChg chg="modSp mod">
        <pc:chgData name="Maji, Pramit Kumar" userId="baa7b768-3f8f-4765-bcc5-8dac6388f3d1" providerId="ADAL" clId="{695C66D8-5805-4F1C-8F32-36162F72AF0B}" dt="2023-09-25T08:40:28.374" v="178" actId="1076"/>
        <pc:sldMkLst>
          <pc:docMk/>
          <pc:sldMk cId="0" sldId="598"/>
        </pc:sldMkLst>
        <pc:spChg chg="mod">
          <ac:chgData name="Maji, Pramit Kumar" userId="baa7b768-3f8f-4765-bcc5-8dac6388f3d1" providerId="ADAL" clId="{695C66D8-5805-4F1C-8F32-36162F72AF0B}" dt="2023-09-25T08:40:28.374" v="178" actId="1076"/>
          <ac:spMkLst>
            <pc:docMk/>
            <pc:sldMk cId="0" sldId="598"/>
            <ac:spMk id="16387" creationId="{5EC0856D-5EC6-15FD-90B4-CCE8F4A80E58}"/>
          </ac:spMkLst>
        </pc:spChg>
        <pc:spChg chg="mod">
          <ac:chgData name="Maji, Pramit Kumar" userId="baa7b768-3f8f-4765-bcc5-8dac6388f3d1" providerId="ADAL" clId="{695C66D8-5805-4F1C-8F32-36162F72AF0B}" dt="2023-09-25T08:33:56.348" v="145" actId="1076"/>
          <ac:spMkLst>
            <pc:docMk/>
            <pc:sldMk cId="0" sldId="598"/>
            <ac:spMk id="16388" creationId="{9246A3E4-BE32-2648-55DF-EC65E96CB2E0}"/>
          </ac:spMkLst>
        </pc:spChg>
        <pc:graphicFrameChg chg="mod">
          <ac:chgData name="Maji, Pramit Kumar" userId="baa7b768-3f8f-4765-bcc5-8dac6388f3d1" providerId="ADAL" clId="{695C66D8-5805-4F1C-8F32-36162F72AF0B}" dt="2023-09-25T08:34:06.308" v="146" actId="1076"/>
          <ac:graphicFrameMkLst>
            <pc:docMk/>
            <pc:sldMk cId="0" sldId="598"/>
            <ac:graphicFrameMk id="16389" creationId="{A9481713-60FD-D70D-FF0F-DE1D246B0712}"/>
          </ac:graphicFrameMkLst>
        </pc:graphicFrameChg>
      </pc:sldChg>
      <pc:sldChg chg="modSp mod">
        <pc:chgData name="Maji, Pramit Kumar" userId="baa7b768-3f8f-4765-bcc5-8dac6388f3d1" providerId="ADAL" clId="{695C66D8-5805-4F1C-8F32-36162F72AF0B}" dt="2023-09-25T08:36:22.897" v="160" actId="1076"/>
        <pc:sldMkLst>
          <pc:docMk/>
          <pc:sldMk cId="0" sldId="599"/>
        </pc:sldMkLst>
        <pc:spChg chg="mod">
          <ac:chgData name="Maji, Pramit Kumar" userId="baa7b768-3f8f-4765-bcc5-8dac6388f3d1" providerId="ADAL" clId="{695C66D8-5805-4F1C-8F32-36162F72AF0B}" dt="2023-09-25T08:36:09.019" v="159" actId="1076"/>
          <ac:spMkLst>
            <pc:docMk/>
            <pc:sldMk cId="0" sldId="599"/>
            <ac:spMk id="17411" creationId="{B6E34386-9846-3A1C-AA55-47799D89A481}"/>
          </ac:spMkLst>
        </pc:spChg>
        <pc:spChg chg="mod">
          <ac:chgData name="Maji, Pramit Kumar" userId="baa7b768-3f8f-4765-bcc5-8dac6388f3d1" providerId="ADAL" clId="{695C66D8-5805-4F1C-8F32-36162F72AF0B}" dt="2023-09-25T08:36:22.897" v="160" actId="1076"/>
          <ac:spMkLst>
            <pc:docMk/>
            <pc:sldMk cId="0" sldId="599"/>
            <ac:spMk id="17412" creationId="{FD6F3C7B-88C6-97B6-EFF7-DBE224DEFC8B}"/>
          </ac:spMkLst>
        </pc:spChg>
      </pc:sldChg>
      <pc:sldChg chg="modSp mod">
        <pc:chgData name="Maji, Pramit Kumar" userId="baa7b768-3f8f-4765-bcc5-8dac6388f3d1" providerId="ADAL" clId="{695C66D8-5805-4F1C-8F32-36162F72AF0B}" dt="2023-09-25T08:38:43.975" v="174" actId="1076"/>
        <pc:sldMkLst>
          <pc:docMk/>
          <pc:sldMk cId="1660576952" sldId="629"/>
        </pc:sldMkLst>
        <pc:spChg chg="mod">
          <ac:chgData name="Maji, Pramit Kumar" userId="baa7b768-3f8f-4765-bcc5-8dac6388f3d1" providerId="ADAL" clId="{695C66D8-5805-4F1C-8F32-36162F72AF0B}" dt="2023-09-25T08:38:43.975" v="174" actId="1076"/>
          <ac:spMkLst>
            <pc:docMk/>
            <pc:sldMk cId="1660576952" sldId="629"/>
            <ac:spMk id="10243" creationId="{0AB59D62-618F-AA16-D605-50DA78A392DC}"/>
          </ac:spMkLst>
        </pc:spChg>
        <pc:spChg chg="mod">
          <ac:chgData name="Maji, Pramit Kumar" userId="baa7b768-3f8f-4765-bcc5-8dac6388f3d1" providerId="ADAL" clId="{695C66D8-5805-4F1C-8F32-36162F72AF0B}" dt="2023-09-25T08:13:47.034" v="5" actId="1076"/>
          <ac:spMkLst>
            <pc:docMk/>
            <pc:sldMk cId="1660576952" sldId="629"/>
            <ac:spMk id="10244" creationId="{903DEDF2-930C-B7B0-9CDC-88B3D11BCEE5}"/>
          </ac:spMkLst>
        </pc:spChg>
      </pc:sldChg>
      <pc:sldChg chg="modSp">
        <pc:chgData name="Maji, Pramit Kumar" userId="baa7b768-3f8f-4765-bcc5-8dac6388f3d1" providerId="ADAL" clId="{695C66D8-5805-4F1C-8F32-36162F72AF0B}" dt="2023-09-25T08:18:11.570" v="25" actId="1076"/>
        <pc:sldMkLst>
          <pc:docMk/>
          <pc:sldMk cId="144344837" sldId="630"/>
        </pc:sldMkLst>
        <pc:spChg chg="mod">
          <ac:chgData name="Maji, Pramit Kumar" userId="baa7b768-3f8f-4765-bcc5-8dac6388f3d1" providerId="ADAL" clId="{695C66D8-5805-4F1C-8F32-36162F72AF0B}" dt="2023-09-25T08:18:11.570" v="25" actId="1076"/>
          <ac:spMkLst>
            <pc:docMk/>
            <pc:sldMk cId="144344837" sldId="630"/>
            <ac:spMk id="11267" creationId="{975349F3-F835-CC61-32C1-68EC9882804F}"/>
          </ac:spMkLst>
        </pc:spChg>
        <pc:spChg chg="mod">
          <ac:chgData name="Maji, Pramit Kumar" userId="baa7b768-3f8f-4765-bcc5-8dac6388f3d1" providerId="ADAL" clId="{695C66D8-5805-4F1C-8F32-36162F72AF0B}" dt="2023-09-25T08:15:33.546" v="15" actId="1076"/>
          <ac:spMkLst>
            <pc:docMk/>
            <pc:sldMk cId="144344837" sldId="630"/>
            <ac:spMk id="11268" creationId="{BD18FE48-ED73-47A9-527C-A9C371D9D112}"/>
          </ac:spMkLst>
        </pc:spChg>
      </pc:sldChg>
      <pc:sldChg chg="modSp">
        <pc:chgData name="Maji, Pramit Kumar" userId="baa7b768-3f8f-4765-bcc5-8dac6388f3d1" providerId="ADAL" clId="{695C66D8-5805-4F1C-8F32-36162F72AF0B}" dt="2023-09-25T08:17:48.155" v="24" actId="1076"/>
        <pc:sldMkLst>
          <pc:docMk/>
          <pc:sldMk cId="2358600343" sldId="631"/>
        </pc:sldMkLst>
        <pc:spChg chg="mod">
          <ac:chgData name="Maji, Pramit Kumar" userId="baa7b768-3f8f-4765-bcc5-8dac6388f3d1" providerId="ADAL" clId="{695C66D8-5805-4F1C-8F32-36162F72AF0B}" dt="2023-09-25T08:17:36.494" v="23" actId="113"/>
          <ac:spMkLst>
            <pc:docMk/>
            <pc:sldMk cId="2358600343" sldId="631"/>
            <ac:spMk id="12291" creationId="{750DCA5F-16F1-2E8D-1C8C-C2CBD62F9D44}"/>
          </ac:spMkLst>
        </pc:spChg>
        <pc:spChg chg="mod">
          <ac:chgData name="Maji, Pramit Kumar" userId="baa7b768-3f8f-4765-bcc5-8dac6388f3d1" providerId="ADAL" clId="{695C66D8-5805-4F1C-8F32-36162F72AF0B}" dt="2023-09-25T08:17:48.155" v="24" actId="1076"/>
          <ac:spMkLst>
            <pc:docMk/>
            <pc:sldMk cId="2358600343" sldId="631"/>
            <ac:spMk id="12292" creationId="{74D160FA-009D-87C2-22AE-86CF80F70B9C}"/>
          </ac:spMkLst>
        </pc:spChg>
      </pc:sldChg>
      <pc:sldChg chg="modSp mod">
        <pc:chgData name="Maji, Pramit Kumar" userId="baa7b768-3f8f-4765-bcc5-8dac6388f3d1" providerId="ADAL" clId="{695C66D8-5805-4F1C-8F32-36162F72AF0B}" dt="2023-09-25T08:27:30.854" v="126" actId="255"/>
        <pc:sldMkLst>
          <pc:docMk/>
          <pc:sldMk cId="1018433913" sldId="632"/>
        </pc:sldMkLst>
        <pc:spChg chg="mod">
          <ac:chgData name="Maji, Pramit Kumar" userId="baa7b768-3f8f-4765-bcc5-8dac6388f3d1" providerId="ADAL" clId="{695C66D8-5805-4F1C-8F32-36162F72AF0B}" dt="2023-09-25T08:19:41.018" v="34" actId="1076"/>
          <ac:spMkLst>
            <pc:docMk/>
            <pc:sldMk cId="1018433913" sldId="632"/>
            <ac:spMk id="13315" creationId="{1D7FCD76-FEBE-2A81-E37A-EFCAA389F8B6}"/>
          </ac:spMkLst>
        </pc:spChg>
        <pc:spChg chg="mod">
          <ac:chgData name="Maji, Pramit Kumar" userId="baa7b768-3f8f-4765-bcc5-8dac6388f3d1" providerId="ADAL" clId="{695C66D8-5805-4F1C-8F32-36162F72AF0B}" dt="2023-09-25T08:27:30.854" v="126" actId="255"/>
          <ac:spMkLst>
            <pc:docMk/>
            <pc:sldMk cId="1018433913" sldId="632"/>
            <ac:spMk id="13316" creationId="{4907E435-C34E-A2C8-8356-4DECCCE3C983}"/>
          </ac:spMkLst>
        </pc:spChg>
        <pc:graphicFrameChg chg="mod">
          <ac:chgData name="Maji, Pramit Kumar" userId="baa7b768-3f8f-4765-bcc5-8dac6388f3d1" providerId="ADAL" clId="{695C66D8-5805-4F1C-8F32-36162F72AF0B}" dt="2023-09-25T08:26:57.787" v="122" actId="1076"/>
          <ac:graphicFrameMkLst>
            <pc:docMk/>
            <pc:sldMk cId="1018433913" sldId="632"/>
            <ac:graphicFrameMk id="13318" creationId="{F78E386D-B2DE-C487-829B-A03843AD98A6}"/>
          </ac:graphicFrameMkLst>
        </pc:graphicFrameChg>
      </pc:sldChg>
      <pc:sldChg chg="modSp mod">
        <pc:chgData name="Maji, Pramit Kumar" userId="baa7b768-3f8f-4765-bcc5-8dac6388f3d1" providerId="ADAL" clId="{695C66D8-5805-4F1C-8F32-36162F72AF0B}" dt="2023-09-25T08:43:30.568" v="182" actId="1076"/>
        <pc:sldMkLst>
          <pc:docMk/>
          <pc:sldMk cId="1077987728" sldId="633"/>
        </pc:sldMkLst>
        <pc:spChg chg="mod">
          <ac:chgData name="Maji, Pramit Kumar" userId="baa7b768-3f8f-4765-bcc5-8dac6388f3d1" providerId="ADAL" clId="{695C66D8-5805-4F1C-8F32-36162F72AF0B}" dt="2023-09-25T08:43:30.568" v="182" actId="1076"/>
          <ac:spMkLst>
            <pc:docMk/>
            <pc:sldMk cId="1077987728" sldId="633"/>
            <ac:spMk id="15363" creationId="{A6ED3B68-93E1-23FE-D558-97C029CDBA00}"/>
          </ac:spMkLst>
        </pc:spChg>
        <pc:spChg chg="mod">
          <ac:chgData name="Maji, Pramit Kumar" userId="baa7b768-3f8f-4765-bcc5-8dac6388f3d1" providerId="ADAL" clId="{695C66D8-5805-4F1C-8F32-36162F72AF0B}" dt="2023-09-25T08:33:27.170" v="141" actId="1076"/>
          <ac:spMkLst>
            <pc:docMk/>
            <pc:sldMk cId="1077987728" sldId="633"/>
            <ac:spMk id="15364" creationId="{E665D53B-B868-6B3E-D372-A2A6E302B8FA}"/>
          </ac:spMkLst>
        </pc:spChg>
      </pc:sldChg>
      <pc:sldChg chg="modSp mod">
        <pc:chgData name="Maji, Pramit Kumar" userId="baa7b768-3f8f-4765-bcc5-8dac6388f3d1" providerId="ADAL" clId="{695C66D8-5805-4F1C-8F32-36162F72AF0B}" dt="2023-09-25T08:35:34.107" v="153" actId="1076"/>
        <pc:sldMkLst>
          <pc:docMk/>
          <pc:sldMk cId="2080668682" sldId="634"/>
        </pc:sldMkLst>
        <pc:spChg chg="mod">
          <ac:chgData name="Maji, Pramit Kumar" userId="baa7b768-3f8f-4765-bcc5-8dac6388f3d1" providerId="ADAL" clId="{695C66D8-5805-4F1C-8F32-36162F72AF0B}" dt="2023-09-25T08:34:47.441" v="149" actId="1076"/>
          <ac:spMkLst>
            <pc:docMk/>
            <pc:sldMk cId="2080668682" sldId="634"/>
            <ac:spMk id="16387" creationId="{5EC0856D-5EC6-15FD-90B4-CCE8F4A80E58}"/>
          </ac:spMkLst>
        </pc:spChg>
        <pc:spChg chg="mod">
          <ac:chgData name="Maji, Pramit Kumar" userId="baa7b768-3f8f-4765-bcc5-8dac6388f3d1" providerId="ADAL" clId="{695C66D8-5805-4F1C-8F32-36162F72AF0B}" dt="2023-09-25T08:34:58.582" v="151" actId="1076"/>
          <ac:spMkLst>
            <pc:docMk/>
            <pc:sldMk cId="2080668682" sldId="634"/>
            <ac:spMk id="16388" creationId="{9246A3E4-BE32-2648-55DF-EC65E96CB2E0}"/>
          </ac:spMkLst>
        </pc:spChg>
        <pc:graphicFrameChg chg="mod">
          <ac:chgData name="Maji, Pramit Kumar" userId="baa7b768-3f8f-4765-bcc5-8dac6388f3d1" providerId="ADAL" clId="{695C66D8-5805-4F1C-8F32-36162F72AF0B}" dt="2023-09-25T08:35:34.107" v="153" actId="1076"/>
          <ac:graphicFrameMkLst>
            <pc:docMk/>
            <pc:sldMk cId="2080668682" sldId="634"/>
            <ac:graphicFrameMk id="16390" creationId="{0591514E-5138-FD79-1C63-7BB2839595F6}"/>
          </ac:graphicFrameMkLst>
        </pc:graphicFrameChg>
      </pc:sldChg>
      <pc:sldChg chg="modSp mod">
        <pc:chgData name="Maji, Pramit Kumar" userId="baa7b768-3f8f-4765-bcc5-8dac6388f3d1" providerId="ADAL" clId="{695C66D8-5805-4F1C-8F32-36162F72AF0B}" dt="2023-09-25T08:43:58.002" v="184" actId="1076"/>
        <pc:sldMkLst>
          <pc:docMk/>
          <pc:sldMk cId="4261108009" sldId="635"/>
        </pc:sldMkLst>
        <pc:spChg chg="mod">
          <ac:chgData name="Maji, Pramit Kumar" userId="baa7b768-3f8f-4765-bcc5-8dac6388f3d1" providerId="ADAL" clId="{695C66D8-5805-4F1C-8F32-36162F72AF0B}" dt="2023-09-25T08:43:58.002" v="184" actId="1076"/>
          <ac:spMkLst>
            <pc:docMk/>
            <pc:sldMk cId="4261108009" sldId="635"/>
            <ac:spMk id="17411" creationId="{B6E34386-9846-3A1C-AA55-47799D89A481}"/>
          </ac:spMkLst>
        </pc:spChg>
        <pc:spChg chg="mod">
          <ac:chgData name="Maji, Pramit Kumar" userId="baa7b768-3f8f-4765-bcc5-8dac6388f3d1" providerId="ADAL" clId="{695C66D8-5805-4F1C-8F32-36162F72AF0B}" dt="2023-09-25T08:36:55.990" v="164" actId="1076"/>
          <ac:spMkLst>
            <pc:docMk/>
            <pc:sldMk cId="4261108009" sldId="635"/>
            <ac:spMk id="17412" creationId="{FD6F3C7B-88C6-97B6-EFF7-DBE224DEFC8B}"/>
          </ac:spMkLst>
        </pc:spChg>
        <pc:graphicFrameChg chg="mod">
          <ac:chgData name="Maji, Pramit Kumar" userId="baa7b768-3f8f-4765-bcc5-8dac6388f3d1" providerId="ADAL" clId="{695C66D8-5805-4F1C-8F32-36162F72AF0B}" dt="2023-09-25T08:37:09.238" v="165" actId="1076"/>
          <ac:graphicFrameMkLst>
            <pc:docMk/>
            <pc:sldMk cId="4261108009" sldId="635"/>
            <ac:graphicFrameMk id="17413" creationId="{D0B5509F-9845-4AC4-CF5C-E120226571BE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Invention" panose="020B0503020008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Invention" panose="020B0503020008020204" pitchFamily="34" charset="0"/>
              </a:defRPr>
            </a:lvl1pPr>
          </a:lstStyle>
          <a:p>
            <a:fld id="{9666AB04-16FE-4906-B5AE-BFF797B8155A}" type="datetimeFigureOut">
              <a:rPr lang="en-GB" smtClean="0"/>
              <a:pPr/>
              <a:t>25/09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Invention" panose="020B0503020008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Invention" panose="020B0503020008020204" pitchFamily="34" charset="0"/>
              </a:defRPr>
            </a:lvl1pPr>
          </a:lstStyle>
          <a:p>
            <a:fld id="{A2DD403B-0F6A-4C1F-AE63-FA1FF361F7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94255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02415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>
            <a:extLst>
              <a:ext uri="{FF2B5EF4-FFF2-40B4-BE49-F238E27FC236}">
                <a16:creationId xmlns:a16="http://schemas.microsoft.com/office/drawing/2014/main" id="{657EEEE0-6A5E-1F74-93A7-DD211872353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28CD43D-FCB6-42EE-8BD0-B82F545F9B9A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68FC64E0-DF7A-FF95-FB91-6CC3C264A0C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2" name="Rectangle 3">
            <a:extLst>
              <a:ext uri="{FF2B5EF4-FFF2-40B4-BE49-F238E27FC236}">
                <a16:creationId xmlns:a16="http://schemas.microsoft.com/office/drawing/2014/main" id="{5BAC7B27-E33B-B937-C727-4321BA5A7B3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95351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>
            <a:extLst>
              <a:ext uri="{FF2B5EF4-FFF2-40B4-BE49-F238E27FC236}">
                <a16:creationId xmlns:a16="http://schemas.microsoft.com/office/drawing/2014/main" id="{68A89DED-AD2E-0748-3CC9-AF5DE77C3BC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48252A-2162-4BB8-96B3-37FF6ABB83C7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675" name="Rectangle 2">
            <a:extLst>
              <a:ext uri="{FF2B5EF4-FFF2-40B4-BE49-F238E27FC236}">
                <a16:creationId xmlns:a16="http://schemas.microsoft.com/office/drawing/2014/main" id="{932BE30D-CC36-6CC8-E494-AC0D4B87C2B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6" name="Rectangle 3">
            <a:extLst>
              <a:ext uri="{FF2B5EF4-FFF2-40B4-BE49-F238E27FC236}">
                <a16:creationId xmlns:a16="http://schemas.microsoft.com/office/drawing/2014/main" id="{A2932B04-9C05-D6E8-02A6-34A6087586D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>
            <a:extLst>
              <a:ext uri="{FF2B5EF4-FFF2-40B4-BE49-F238E27FC236}">
                <a16:creationId xmlns:a16="http://schemas.microsoft.com/office/drawing/2014/main" id="{68A89DED-AD2E-0748-3CC9-AF5DE77C3BC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48252A-2162-4BB8-96B3-37FF6ABB83C7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675" name="Rectangle 2">
            <a:extLst>
              <a:ext uri="{FF2B5EF4-FFF2-40B4-BE49-F238E27FC236}">
                <a16:creationId xmlns:a16="http://schemas.microsoft.com/office/drawing/2014/main" id="{932BE30D-CC36-6CC8-E494-AC0D4B87C2B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6" name="Rectangle 3">
            <a:extLst>
              <a:ext uri="{FF2B5EF4-FFF2-40B4-BE49-F238E27FC236}">
                <a16:creationId xmlns:a16="http://schemas.microsoft.com/office/drawing/2014/main" id="{A2932B04-9C05-D6E8-02A6-34A6087586D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39968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>
            <a:extLst>
              <a:ext uri="{FF2B5EF4-FFF2-40B4-BE49-F238E27FC236}">
                <a16:creationId xmlns:a16="http://schemas.microsoft.com/office/drawing/2014/main" id="{FD691C22-9104-E1D2-5D11-8ABB91052FF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4A630DC-5567-41A7-8A0E-8DB9E6512D5B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699" name="Rectangle 2">
            <a:extLst>
              <a:ext uri="{FF2B5EF4-FFF2-40B4-BE49-F238E27FC236}">
                <a16:creationId xmlns:a16="http://schemas.microsoft.com/office/drawing/2014/main" id="{989BA6DE-5288-BAF6-2166-9371FCC94B6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700" name="Rectangle 3">
            <a:extLst>
              <a:ext uri="{FF2B5EF4-FFF2-40B4-BE49-F238E27FC236}">
                <a16:creationId xmlns:a16="http://schemas.microsoft.com/office/drawing/2014/main" id="{0562DE5A-2E9F-FF8F-6125-1429F503D5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>
            <a:extLst>
              <a:ext uri="{FF2B5EF4-FFF2-40B4-BE49-F238E27FC236}">
                <a16:creationId xmlns:a16="http://schemas.microsoft.com/office/drawing/2014/main" id="{FD691C22-9104-E1D2-5D11-8ABB91052FF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4A630DC-5567-41A7-8A0E-8DB9E6512D5B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699" name="Rectangle 2">
            <a:extLst>
              <a:ext uri="{FF2B5EF4-FFF2-40B4-BE49-F238E27FC236}">
                <a16:creationId xmlns:a16="http://schemas.microsoft.com/office/drawing/2014/main" id="{989BA6DE-5288-BAF6-2166-9371FCC94B6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700" name="Rectangle 3">
            <a:extLst>
              <a:ext uri="{FF2B5EF4-FFF2-40B4-BE49-F238E27FC236}">
                <a16:creationId xmlns:a16="http://schemas.microsoft.com/office/drawing/2014/main" id="{0562DE5A-2E9F-FF8F-6125-1429F503D5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5325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>
            <a:extLst>
              <a:ext uri="{FF2B5EF4-FFF2-40B4-BE49-F238E27FC236}">
                <a16:creationId xmlns:a16="http://schemas.microsoft.com/office/drawing/2014/main" id="{59285B33-A7E3-DFF5-C95D-F4E1F7D4B58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1E8C4CB-D1C2-4B81-86A2-C0D43BCC1629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723" name="Rectangle 2">
            <a:extLst>
              <a:ext uri="{FF2B5EF4-FFF2-40B4-BE49-F238E27FC236}">
                <a16:creationId xmlns:a16="http://schemas.microsoft.com/office/drawing/2014/main" id="{5FB0179A-C5C7-2A7E-23F9-BD51FB5F9F8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0724" name="Rectangle 3">
            <a:extLst>
              <a:ext uri="{FF2B5EF4-FFF2-40B4-BE49-F238E27FC236}">
                <a16:creationId xmlns:a16="http://schemas.microsoft.com/office/drawing/2014/main" id="{FEDF23E9-5856-A6D6-2454-EADCC62B4AB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>
            <a:extLst>
              <a:ext uri="{FF2B5EF4-FFF2-40B4-BE49-F238E27FC236}">
                <a16:creationId xmlns:a16="http://schemas.microsoft.com/office/drawing/2014/main" id="{59285B33-A7E3-DFF5-C95D-F4E1F7D4B58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1E8C4CB-D1C2-4B81-86A2-C0D43BCC1629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723" name="Rectangle 2">
            <a:extLst>
              <a:ext uri="{FF2B5EF4-FFF2-40B4-BE49-F238E27FC236}">
                <a16:creationId xmlns:a16="http://schemas.microsoft.com/office/drawing/2014/main" id="{5FB0179A-C5C7-2A7E-23F9-BD51FB5F9F8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0724" name="Rectangle 3">
            <a:extLst>
              <a:ext uri="{FF2B5EF4-FFF2-40B4-BE49-F238E27FC236}">
                <a16:creationId xmlns:a16="http://schemas.microsoft.com/office/drawing/2014/main" id="{FEDF23E9-5856-A6D6-2454-EADCC62B4AB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57033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7">
            <a:extLst>
              <a:ext uri="{FF2B5EF4-FFF2-40B4-BE49-F238E27FC236}">
                <a16:creationId xmlns:a16="http://schemas.microsoft.com/office/drawing/2014/main" id="{5812C5DB-E9FA-0ADA-10A6-44971E2F6EC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B0B1DDF-0ACC-4C57-9CA9-9A59EDFAC5EC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747" name="Rectangle 2">
            <a:extLst>
              <a:ext uri="{FF2B5EF4-FFF2-40B4-BE49-F238E27FC236}">
                <a16:creationId xmlns:a16="http://schemas.microsoft.com/office/drawing/2014/main" id="{923EB087-8491-F71F-66C9-B7EB775464E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8" name="Rectangle 3">
            <a:extLst>
              <a:ext uri="{FF2B5EF4-FFF2-40B4-BE49-F238E27FC236}">
                <a16:creationId xmlns:a16="http://schemas.microsoft.com/office/drawing/2014/main" id="{F8D74DFD-2584-587F-771C-A0DAD36CDE8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>
            <a:extLst>
              <a:ext uri="{FF2B5EF4-FFF2-40B4-BE49-F238E27FC236}">
                <a16:creationId xmlns:a16="http://schemas.microsoft.com/office/drawing/2014/main" id="{FEC50B10-C618-8528-3D70-13C9A3862CF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32C640-621A-43A5-8B8D-82A24C520C82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771" name="Rectangle 2">
            <a:extLst>
              <a:ext uri="{FF2B5EF4-FFF2-40B4-BE49-F238E27FC236}">
                <a16:creationId xmlns:a16="http://schemas.microsoft.com/office/drawing/2014/main" id="{91826E02-292E-4286-DD1B-AF5E26B80F4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2" name="Rectangle 3">
            <a:extLst>
              <a:ext uri="{FF2B5EF4-FFF2-40B4-BE49-F238E27FC236}">
                <a16:creationId xmlns:a16="http://schemas.microsoft.com/office/drawing/2014/main" id="{0F50648C-1922-CEAA-02F1-2AFCDF18FDE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>
            <a:extLst>
              <a:ext uri="{FF2B5EF4-FFF2-40B4-BE49-F238E27FC236}">
                <a16:creationId xmlns:a16="http://schemas.microsoft.com/office/drawing/2014/main" id="{FEC50B10-C618-8528-3D70-13C9A3862CF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32C640-621A-43A5-8B8D-82A24C520C82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771" name="Rectangle 2">
            <a:extLst>
              <a:ext uri="{FF2B5EF4-FFF2-40B4-BE49-F238E27FC236}">
                <a16:creationId xmlns:a16="http://schemas.microsoft.com/office/drawing/2014/main" id="{91826E02-292E-4286-DD1B-AF5E26B80F4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2" name="Rectangle 3">
            <a:extLst>
              <a:ext uri="{FF2B5EF4-FFF2-40B4-BE49-F238E27FC236}">
                <a16:creationId xmlns:a16="http://schemas.microsoft.com/office/drawing/2014/main" id="{0F50648C-1922-CEAA-02F1-2AFCDF18FDE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49749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212048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>
            <a:extLst>
              <a:ext uri="{FF2B5EF4-FFF2-40B4-BE49-F238E27FC236}">
                <a16:creationId xmlns:a16="http://schemas.microsoft.com/office/drawing/2014/main" id="{E3684DFA-B901-CDD8-F80E-7D1E2501DEF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E24962B-AABD-4FD2-86DA-83F83269067B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795" name="Rectangle 2">
            <a:extLst>
              <a:ext uri="{FF2B5EF4-FFF2-40B4-BE49-F238E27FC236}">
                <a16:creationId xmlns:a16="http://schemas.microsoft.com/office/drawing/2014/main" id="{07A3E945-8FFA-2290-39A3-FB4DBC1989C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>
            <a:extLst>
              <a:ext uri="{FF2B5EF4-FFF2-40B4-BE49-F238E27FC236}">
                <a16:creationId xmlns:a16="http://schemas.microsoft.com/office/drawing/2014/main" id="{7BB9EACF-6DC4-E8D2-82BA-D78F4352901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>
            <a:extLst>
              <a:ext uri="{FF2B5EF4-FFF2-40B4-BE49-F238E27FC236}">
                <a16:creationId xmlns:a16="http://schemas.microsoft.com/office/drawing/2014/main" id="{E3684DFA-B901-CDD8-F80E-7D1E2501DEF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E24962B-AABD-4FD2-86DA-83F83269067B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795" name="Rectangle 2">
            <a:extLst>
              <a:ext uri="{FF2B5EF4-FFF2-40B4-BE49-F238E27FC236}">
                <a16:creationId xmlns:a16="http://schemas.microsoft.com/office/drawing/2014/main" id="{07A3E945-8FFA-2290-39A3-FB4DBC1989C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>
            <a:extLst>
              <a:ext uri="{FF2B5EF4-FFF2-40B4-BE49-F238E27FC236}">
                <a16:creationId xmlns:a16="http://schemas.microsoft.com/office/drawing/2014/main" id="{7BB9EACF-6DC4-E8D2-82BA-D78F4352901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358761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>
            <a:extLst>
              <a:ext uri="{FF2B5EF4-FFF2-40B4-BE49-F238E27FC236}">
                <a16:creationId xmlns:a16="http://schemas.microsoft.com/office/drawing/2014/main" id="{DC7455B6-C7F6-4588-9E1E-1530B17CBF8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CF83EB0-0FD4-480D-AB24-9DC8B3D40579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819" name="Rectangle 2">
            <a:extLst>
              <a:ext uri="{FF2B5EF4-FFF2-40B4-BE49-F238E27FC236}">
                <a16:creationId xmlns:a16="http://schemas.microsoft.com/office/drawing/2014/main" id="{901C201D-2070-4158-ABB4-501AFFEB69A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4820" name="Rectangle 3">
            <a:extLst>
              <a:ext uri="{FF2B5EF4-FFF2-40B4-BE49-F238E27FC236}">
                <a16:creationId xmlns:a16="http://schemas.microsoft.com/office/drawing/2014/main" id="{5D96C759-C5AF-2530-E9C5-562453EC4BB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>
            <a:extLst>
              <a:ext uri="{FF2B5EF4-FFF2-40B4-BE49-F238E27FC236}">
                <a16:creationId xmlns:a16="http://schemas.microsoft.com/office/drawing/2014/main" id="{DC7455B6-C7F6-4588-9E1E-1530B17CBF8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CF83EB0-0FD4-480D-AB24-9DC8B3D40579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819" name="Rectangle 2">
            <a:extLst>
              <a:ext uri="{FF2B5EF4-FFF2-40B4-BE49-F238E27FC236}">
                <a16:creationId xmlns:a16="http://schemas.microsoft.com/office/drawing/2014/main" id="{901C201D-2070-4158-ABB4-501AFFEB69A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4820" name="Rectangle 3">
            <a:extLst>
              <a:ext uri="{FF2B5EF4-FFF2-40B4-BE49-F238E27FC236}">
                <a16:creationId xmlns:a16="http://schemas.microsoft.com/office/drawing/2014/main" id="{5D96C759-C5AF-2530-E9C5-562453EC4BB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05704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>
            <a:extLst>
              <a:ext uri="{FF2B5EF4-FFF2-40B4-BE49-F238E27FC236}">
                <a16:creationId xmlns:a16="http://schemas.microsoft.com/office/drawing/2014/main" id="{5EB71140-CA49-90E0-36EA-DF1700493AA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F96445-4D7B-40BF-BE78-6C9DA8628DE6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843" name="Rectangle 2">
            <a:extLst>
              <a:ext uri="{FF2B5EF4-FFF2-40B4-BE49-F238E27FC236}">
                <a16:creationId xmlns:a16="http://schemas.microsoft.com/office/drawing/2014/main" id="{688F3517-39B8-F213-6A4C-2C88C8467D9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>
            <a:extLst>
              <a:ext uri="{FF2B5EF4-FFF2-40B4-BE49-F238E27FC236}">
                <a16:creationId xmlns:a16="http://schemas.microsoft.com/office/drawing/2014/main" id="{CA6B2686-C740-64AE-D178-A9AA8CE0641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">
            <a:extLst>
              <a:ext uri="{FF2B5EF4-FFF2-40B4-BE49-F238E27FC236}">
                <a16:creationId xmlns:a16="http://schemas.microsoft.com/office/drawing/2014/main" id="{2B81DB02-B8FA-8373-5631-0EDC7C0624D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B2E0579-93D3-4C42-A2FD-6674A7DB2D2A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627" name="Rectangle 2">
            <a:extLst>
              <a:ext uri="{FF2B5EF4-FFF2-40B4-BE49-F238E27FC236}">
                <a16:creationId xmlns:a16="http://schemas.microsoft.com/office/drawing/2014/main" id="{AA6A67B7-487E-C7AA-C11B-554CFCE484E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628" name="Rectangle 3">
            <a:extLst>
              <a:ext uri="{FF2B5EF4-FFF2-40B4-BE49-F238E27FC236}">
                <a16:creationId xmlns:a16="http://schemas.microsoft.com/office/drawing/2014/main" id="{A23312DF-B14C-2158-B8FE-A5C7C61BDF0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4989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:a16="http://schemas.microsoft.com/office/drawing/2014/main" id="{0502DD6B-92C6-A0D7-8F1C-B4BEB315F04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633F00-5AC2-4BBC-A388-C3415F643E72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:a16="http://schemas.microsoft.com/office/drawing/2014/main" id="{976FE5A6-F779-525F-2D88-E596BED4ECB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2" name="Rectangle 3">
            <a:extLst>
              <a:ext uri="{FF2B5EF4-FFF2-40B4-BE49-F238E27FC236}">
                <a16:creationId xmlns:a16="http://schemas.microsoft.com/office/drawing/2014/main" id="{DAA56957-47BB-F843-560C-9201AE697A7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:a16="http://schemas.microsoft.com/office/drawing/2014/main" id="{0502DD6B-92C6-A0D7-8F1C-B4BEB315F04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633F00-5AC2-4BBC-A388-C3415F643E72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:a16="http://schemas.microsoft.com/office/drawing/2014/main" id="{976FE5A6-F779-525F-2D88-E596BED4ECB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2" name="Rectangle 3">
            <a:extLst>
              <a:ext uri="{FF2B5EF4-FFF2-40B4-BE49-F238E27FC236}">
                <a16:creationId xmlns:a16="http://schemas.microsoft.com/office/drawing/2014/main" id="{DAA56957-47BB-F843-560C-9201AE697A7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9646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>
            <a:extLst>
              <a:ext uri="{FF2B5EF4-FFF2-40B4-BE49-F238E27FC236}">
                <a16:creationId xmlns:a16="http://schemas.microsoft.com/office/drawing/2014/main" id="{F6A2DFB5-2737-70B2-62D1-DD57CA850C9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9C4BCFD-B169-4E8D-8CC4-5E4D5703DE4A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555" name="Rectangle 2">
            <a:extLst>
              <a:ext uri="{FF2B5EF4-FFF2-40B4-BE49-F238E27FC236}">
                <a16:creationId xmlns:a16="http://schemas.microsoft.com/office/drawing/2014/main" id="{502A2377-D528-64EE-EC6C-60157D7DC9E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>
            <a:extLst>
              <a:ext uri="{FF2B5EF4-FFF2-40B4-BE49-F238E27FC236}">
                <a16:creationId xmlns:a16="http://schemas.microsoft.com/office/drawing/2014/main" id="{16A1F197-423C-BAAE-43BD-BB260F9B526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>
            <a:extLst>
              <a:ext uri="{FF2B5EF4-FFF2-40B4-BE49-F238E27FC236}">
                <a16:creationId xmlns:a16="http://schemas.microsoft.com/office/drawing/2014/main" id="{4E8400DD-1C18-C81D-919D-E3B2247EDFC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2B3D240-14B9-4AE4-A6CD-04FEEF8034BD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4579" name="Rectangle 2">
            <a:extLst>
              <a:ext uri="{FF2B5EF4-FFF2-40B4-BE49-F238E27FC236}">
                <a16:creationId xmlns:a16="http://schemas.microsoft.com/office/drawing/2014/main" id="{877860E4-00E0-2760-4255-3F087488771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4580" name="Rectangle 3">
            <a:extLst>
              <a:ext uri="{FF2B5EF4-FFF2-40B4-BE49-F238E27FC236}">
                <a16:creationId xmlns:a16="http://schemas.microsoft.com/office/drawing/2014/main" id="{8802A5C5-125F-4EBD-DBD6-98CD2550462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7">
            <a:extLst>
              <a:ext uri="{FF2B5EF4-FFF2-40B4-BE49-F238E27FC236}">
                <a16:creationId xmlns:a16="http://schemas.microsoft.com/office/drawing/2014/main" id="{64EC7A9E-B78E-CDB3-97E4-D89DC7152D5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1D0121C-8B93-4357-B867-2B5D7DBBCABA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603" name="Rectangle 2">
            <a:extLst>
              <a:ext uri="{FF2B5EF4-FFF2-40B4-BE49-F238E27FC236}">
                <a16:creationId xmlns:a16="http://schemas.microsoft.com/office/drawing/2014/main" id="{94EF5608-7D9B-85C6-4FC4-308C737C73A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4" name="Rectangle 3">
            <a:extLst>
              <a:ext uri="{FF2B5EF4-FFF2-40B4-BE49-F238E27FC236}">
                <a16:creationId xmlns:a16="http://schemas.microsoft.com/office/drawing/2014/main" id="{5C64299A-4219-BF62-C86F-DB8EADBD060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">
            <a:extLst>
              <a:ext uri="{FF2B5EF4-FFF2-40B4-BE49-F238E27FC236}">
                <a16:creationId xmlns:a16="http://schemas.microsoft.com/office/drawing/2014/main" id="{2B81DB02-B8FA-8373-5631-0EDC7C0624D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B2E0579-93D3-4C42-A2FD-6674A7DB2D2A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627" name="Rectangle 2">
            <a:extLst>
              <a:ext uri="{FF2B5EF4-FFF2-40B4-BE49-F238E27FC236}">
                <a16:creationId xmlns:a16="http://schemas.microsoft.com/office/drawing/2014/main" id="{AA6A67B7-487E-C7AA-C11B-554CFCE484E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628" name="Rectangle 3">
            <a:extLst>
              <a:ext uri="{FF2B5EF4-FFF2-40B4-BE49-F238E27FC236}">
                <a16:creationId xmlns:a16="http://schemas.microsoft.com/office/drawing/2014/main" id="{A23312DF-B14C-2158-B8FE-A5C7C61BDF0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>
            <a:extLst>
              <a:ext uri="{FF2B5EF4-FFF2-40B4-BE49-F238E27FC236}">
                <a16:creationId xmlns:a16="http://schemas.microsoft.com/office/drawing/2014/main" id="{657EEEE0-6A5E-1F74-93A7-DD211872353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22338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223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28CD43D-FCB6-42EE-8BD0-B82F545F9B9A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223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651" name="Rectangle 2">
            <a:extLst>
              <a:ext uri="{FF2B5EF4-FFF2-40B4-BE49-F238E27FC236}">
                <a16:creationId xmlns:a16="http://schemas.microsoft.com/office/drawing/2014/main" id="{68FC64E0-DF7A-FF95-FB91-6CC3C264A0C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2" name="Rectangle 3">
            <a:extLst>
              <a:ext uri="{FF2B5EF4-FFF2-40B4-BE49-F238E27FC236}">
                <a16:creationId xmlns:a16="http://schemas.microsoft.com/office/drawing/2014/main" id="{5BAC7B27-E33B-B937-C727-4321BA5A7B3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11439144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11439144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522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A2A630D-D2A2-A24D-9003-1BEE64F923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DEDCDF1C-336C-0246-BDC6-596FD9C526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1173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5508000" cy="4456113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34BD0E-C4B5-A54B-9A77-159AD414B604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35E8A8-7A94-4D3A-8CEF-505EA93C3FA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06175" y="1925636"/>
            <a:ext cx="5508000" cy="4456113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4892203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12C56-F55F-3546-9A1C-3F18907ADBE0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06175" y="1925636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79075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5025" y="1925636"/>
            <a:ext cx="46908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1C3A2D-2FFA-A644-AC22-DEFEDD04EC5A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23375" y="1925636"/>
            <a:ext cx="46908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DCB0DAD-1D3A-4AE1-B658-E47AEDEBDC9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77825" y="1925638"/>
            <a:ext cx="727075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8A05E0C6-0A16-44EE-A33F-CB3D25780F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06177" y="1925636"/>
            <a:ext cx="727075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322840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66175" y="1925637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5FAC7-D619-A54E-877A-A320E0D2E122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433052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4175" y="1925637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E677B2-E575-7548-9AE7-0387A468A294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466080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5A4EB-7CE5-0940-A150-C0B0199CEF30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74794FA-AA98-F44B-9C03-D9A23F686CE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92203" y="1925636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37476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Boxe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D9207-ADC6-1148-9671-F054DC63C638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037978F-B82C-43FD-83FD-6C5528177445}"/>
              </a:ext>
            </a:extLst>
          </p:cNvPr>
          <p:cNvCxnSpPr/>
          <p:nvPr userDrawn="1"/>
        </p:nvCxnSpPr>
        <p:spPr>
          <a:xfrm>
            <a:off x="4138811" y="2779713"/>
            <a:ext cx="0" cy="34933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0E9591C-D839-480D-87AF-CCA3E39A8A12}"/>
              </a:ext>
            </a:extLst>
          </p:cNvPr>
          <p:cNvCxnSpPr/>
          <p:nvPr userDrawn="1"/>
        </p:nvCxnSpPr>
        <p:spPr>
          <a:xfrm>
            <a:off x="8053189" y="2779713"/>
            <a:ext cx="0" cy="34933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9CDDD6-A4E2-4D4C-82F0-B33A9971E1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8222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29F3904-BD90-4349-B787-82A3653EBE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2600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D5749C8-BCF0-41ED-BD1F-0512A23DA9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06978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7" name="Picture 16" descr="A close up of smoke&#10;&#10;Description automatically generated">
            <a:extLst>
              <a:ext uri="{FF2B5EF4-FFF2-40B4-BE49-F238E27FC236}">
                <a16:creationId xmlns:a16="http://schemas.microsoft.com/office/drawing/2014/main" id="{5F203263-769C-4C12-9223-2001699512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7096" y="2098506"/>
            <a:ext cx="163429" cy="346582"/>
          </a:xfrm>
          <a:prstGeom prst="rect">
            <a:avLst/>
          </a:prstGeom>
        </p:spPr>
      </p:pic>
      <p:pic>
        <p:nvPicPr>
          <p:cNvPr id="18" name="Picture 17" descr="A close up of smoke&#10;&#10;Description automatically generated">
            <a:extLst>
              <a:ext uri="{FF2B5EF4-FFF2-40B4-BE49-F238E27FC236}">
                <a16:creationId xmlns:a16="http://schemas.microsoft.com/office/drawing/2014/main" id="{67406F93-4853-495C-80C0-0EF6FE29A6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1474" y="2100987"/>
            <a:ext cx="163429" cy="346582"/>
          </a:xfrm>
          <a:prstGeom prst="rect">
            <a:avLst/>
          </a:prstGeom>
        </p:spPr>
      </p:pic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8D2CA29D-86D5-4B12-95E3-E5BA1462E5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1F82BA5-FD67-413D-BACC-18EB0523651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292202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CD09D3E6-36C0-430F-BA84-5003F9B4225B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06579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64515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5419" y="1925637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71BE7-2050-464F-B3BA-FE133C9F987C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749797" y="1925636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664175" y="1925636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1C72693-AE5F-44C4-B2DE-80193159B3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7826" y="1925638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582ACADA-0A45-42F9-8B5C-1E169DE39EC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92600" y="1920800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3CC5F8C-C4D5-42BB-A445-BB440A06A61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7374" y="1915962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107946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73EB6BEA-3975-214B-94EF-41854C90D5A9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DDCF90C-1CF9-4401-9944-53FD3BC1F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8B715D9-46C4-453C-9232-C5958522C1D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F5A29A8-85A5-46D8-8F53-96CD2CDDBFB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FB21EA3-AB8A-2A4F-BBAC-105427A70A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90959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B3C11D-CBDE-CD44-8B22-0B01F921E311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7712E2F-A70E-A449-B82B-DCC15A3F49B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981C63A-E439-DC4A-B1CA-8000C08D3F4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EBE22AF-5013-184C-9B29-F1B4880E7B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F3521C8-6D7C-454E-8E2D-CDFFA7F74F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68884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02791B-FD39-994A-ADE5-789491EECC7A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5ABDD55-8102-A442-975A-192C62CA985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4904" y="1929384"/>
            <a:ext cx="11439144" cy="4453128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9060599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321EC-5A9E-F847-A031-D651CF2B8CC1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49942" y="1925636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2059" y="1925636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94175" y="1925635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06683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3825" y="1925637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80DDC-B55F-5741-9B49-8D6EC6B4C324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835942" y="1925636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808059" y="1925636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780175" y="1925635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1B5C024-3D37-40F2-9B81-1690BB31914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77825" y="1925638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521F0D55-5210-49B5-B56F-CE30A8FB3C3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48187" y="1925635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3D09EB75-7828-4D9E-BDD9-CAE3A50CAFE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18549" y="1925632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029A3F0B-03EF-4E97-80EA-26AA53F30F6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288911" y="1925629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252704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2779714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84689-AE6E-864F-98D0-FBE196532CB7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1942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166059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060175" y="2779712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4075B33-7825-4C60-862C-61A603CFC7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7825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3E2CDC91-E304-418C-A9D7-28AC6287D3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71629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6E66F7D4-5CDC-4402-A280-84C231E68B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65433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8C7CB55E-AF72-47A4-A35E-3697A3A8770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59237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76966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F15A63-0F3E-7541-989F-B6BB8268B701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825" y="1925637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3B90707-AB72-4BDF-AD03-5CEFF13586D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5638"/>
            <a:ext cx="0" cy="445611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8EA5DCD-04DC-4410-9C6C-9AFCE3FEC069}"/>
              </a:ext>
            </a:extLst>
          </p:cNvPr>
          <p:cNvCxnSpPr>
            <a:cxnSpLocks/>
          </p:cNvCxnSpPr>
          <p:nvPr userDrawn="1"/>
        </p:nvCxnSpPr>
        <p:spPr>
          <a:xfrm>
            <a:off x="6325431" y="4153694"/>
            <a:ext cx="54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D8F22CA-E663-4B76-9B81-CB354FFB6727}"/>
              </a:ext>
            </a:extLst>
          </p:cNvPr>
          <p:cNvCxnSpPr>
            <a:cxnSpLocks/>
          </p:cNvCxnSpPr>
          <p:nvPr userDrawn="1"/>
        </p:nvCxnSpPr>
        <p:spPr>
          <a:xfrm>
            <a:off x="377824" y="4153694"/>
            <a:ext cx="54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7825" y="4381945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24177" y="1925638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24177" y="4381946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048069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E2310-EF22-DB42-8D0E-326FE67C5C6E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9127" y="1925637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9127" y="4381945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5479" y="1925638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05479" y="4381946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8574B2E4-A6F8-41FA-8F1F-ECC21521DE3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77826" y="1925638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EF4EAA21-6775-4363-955A-9F4F38C86AA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4179" y="1925638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1FCF0DB0-8AF6-4AF8-9F54-BB3F00A8418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7826" y="4381945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BEBAAB19-15C5-44ED-923E-1ADCA4C004F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24179" y="4381944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676952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F96CCB-2F86-FB47-9487-506B4DB47B74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9EA4881-2F50-4460-9F83-A86DF033A16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7825" y="1934308"/>
            <a:ext cx="11436350" cy="1730437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486805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8"/>
            <a:ext cx="4588975" cy="35377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30181E-1562-794C-97AC-863F5C46B16E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5718175" cy="353774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87354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2439194"/>
            <a:ext cx="4246200" cy="30241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566A35-143B-C74F-8812-12406DE193EE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52175" y="2439194"/>
            <a:ext cx="5562000" cy="30241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52367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7"/>
            <a:ext cx="4588975" cy="3601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077600-63C6-224A-844E-432091F8FAD3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3607200" cy="1981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85419" y="3907438"/>
            <a:ext cx="2260800" cy="162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37952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588975" cy="3601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B8D0D-AAA4-044B-9BDD-77A9840047A1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05788" y="1925638"/>
            <a:ext cx="3607200" cy="1981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4988" y="3907438"/>
            <a:ext cx="2260800" cy="162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24088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9445752" cy="2200275"/>
          </a:xfrm>
        </p:spPr>
        <p:txBody>
          <a:bodyPr anchor="b"/>
          <a:lstStyle>
            <a:lvl1pPr algn="l">
              <a:defRPr sz="42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9445752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8ADC44A-9213-B64D-A8AB-66BD30E027C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271F286-AC27-F946-A03C-5489E556B9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35263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llout/Quot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0AEE9-0A7F-4479-B507-8B8082AFB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4265503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A2D68-35A0-4566-A489-A0DCE0C90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BBDF1-54A0-7848-BE17-E8C09DD7D4B5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03DFB-39D8-48D7-A3E4-B542813DF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22642-328A-4E13-BB21-565845D77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036F06-EA18-C44C-A97B-2279D3B41C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51359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84D7A4D-7018-0A48-8987-4BFB6342C8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CEC296-2E91-F64C-A658-5F722A92785C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AE9DA3B-483B-5046-BCF8-E4117B41B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03A7C83-E23B-9145-B016-22F8693022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C9D17F-4A01-D84A-AD4C-F3C43A80CF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29908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85336-9D22-364F-BF1E-A40BDAD628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8A72C-3345-8048-84BB-36E8B29E1D5F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E9AD67E-320D-D949-BDE9-CB17875DE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F668672-0CA3-7343-8BF8-BABC3A102F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48F148-F7C2-E041-A072-90EB6611BB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4103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87D4353-F79D-E94B-AE2E-881A5001D6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443B8-DE0F-FD44-8538-B0173A13CB5C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AB1989F-C117-0841-AE56-C08131A7D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B469D0C-F673-4848-97B6-BE8BC5C41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6030242-72B6-C147-A221-DF279D6BE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F58DCED-9CC2-A241-A902-5C1F3C42B8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AF0BF4-8250-E446-837B-5EA9534F37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7340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1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3C5C1224-3420-BD4C-AB03-597E49156B5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2968ACE-AF19-3041-ACD6-427E5021CCDD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30E31E45-BD7C-2244-A5AA-6B9A4DD18F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12DB7C9-9D63-8443-A5FD-D086C0E4DD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143410C-D5EE-774D-935A-8E4F028A50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94221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0"/>
            <a:ext cx="4140000" cy="4384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4384800"/>
            <a:ext cx="1956000" cy="19969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1DABA81-09CA-2445-94F5-E8C5860AE59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D9622A0-B4DA-AB4C-98CE-E6395845296C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B1A2F9A-5ACE-794A-BD66-D670CFEBB35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B9B6D6-A74F-7342-B26B-5A03F20C864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222C5BA-E246-C240-8053-0C72324AC5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39120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35000" y="-1"/>
            <a:ext cx="4140000" cy="35951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75000" y="3595125"/>
            <a:ext cx="1917000" cy="170587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1798D99-AE73-44D3-BA8B-DA609105C4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30400" y="5301000"/>
            <a:ext cx="1344600" cy="1080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1295CCF-38D8-0949-8CA7-B8F50CCEBFD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75948ED-22D6-FD45-A9F4-17FAF5946A7A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1798A22-719C-AD4E-A2E4-6E589B424B3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67CDEA8-12CF-E54D-872A-A3A7C01687C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CBABCDE-63B5-7C46-821D-F3064414E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31212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74FF2D4-8454-424E-964D-3669665990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FD5127-EAB8-804B-8CE7-159BEF7EAD6B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BEFFA1A-D493-0248-84A1-3307B141E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B079903-BBE1-444C-BA56-1EE190409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2F08F49-0018-894A-B2B3-3C5CDB861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55886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FC7E27-D871-8949-9F84-A0609968C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63785C-D633-4C44-AC92-BDEB3F834037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3CB020-10CB-D247-9419-79BE58506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D25391D-0555-F04A-AD64-9D10509B64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E09CE8B-E861-8540-998D-CA8F3DC4D0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18717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C83506-EC7E-5F4F-9866-B9EA42BE1A48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2336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270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204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3A1C0D48-6745-44FE-81AC-9E3EB1E2DEC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2336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62FA97E8-4519-4739-B895-55612F78257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270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B5432D3A-C3C9-4B63-96CD-241A721F138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8204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36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70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04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DCE95CF4-5CBF-4291-A2EE-D5DE9E6B9D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336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5D1BABBE-6978-4D02-8163-974D5CE637C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270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6638213F-5B32-4E08-8CF4-7C45D4AFBD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204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454414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1" cy="6096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5718000" y="60966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C9BF2E3-EA9C-7F4B-9DDD-A42D8C853D7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13BE3CBF-B0C1-964C-97A5-74D9CF1994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266160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n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11436350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84BF03-830B-D644-B48B-9F693DBA2435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13590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3147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270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590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147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70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0F2B2CB-3337-458C-8742-CD64EDBB5A7B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2261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06226EB7-DC79-4415-9F31-120925FC7DB0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91818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8BD9D58A-9730-4689-82FF-3880AD4EB55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2261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84FA9470-3E08-4A55-BB56-6A291847C1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818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74F72C97-0B91-4D13-BC93-502C0DDA63D5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13590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CA834CB8-8309-40CC-85CB-E847DDFEAA88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33147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A434F088-0196-49C1-B53B-EC3AFBDEA6FB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5270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FE4E092-B0F3-402B-9C53-055B7286B5B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3590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D0EEFE8D-FB7E-4184-B179-6802E6985B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47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13E886F9-8EBE-418C-A9C2-637AD066021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70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4E3663E3-789A-40E1-BABF-D31E612525FE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72261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36EF7152-E16E-465A-A125-AF45D3A0E37A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91818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01E7611-82DD-4924-934D-F8701B5CD98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2261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5E1CA1F3-9B65-483E-B0E7-D4BB7ACD4FC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818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63852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1"/>
            <a:ext cx="3600000" cy="137775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8BCA7A-028F-D641-A757-F504556EABEE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ED3EE21-B105-4761-ACD1-C5BEE2805BD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14175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814175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49081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1B9233A-DF33-49E3-8950-75A72BB6ABA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877600" y="4597200"/>
            <a:ext cx="3314400" cy="226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0"/>
            <a:ext cx="3600000" cy="1378495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8877600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B6F0F0A-4199-EB47-811A-FAE05B072BC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362905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5419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754" y="1387799"/>
            <a:ext cx="3596421" cy="122040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57F6FC-9C5A-8E4F-8F5D-F636A8B9F004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17754" y="2778919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98B7EDB-B996-BA42-902D-C20ED98AB6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29304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17754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1387800"/>
            <a:ext cx="3596421" cy="1221757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A519C7-09B2-174C-A471-73F88209E3BE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8000" y="2778919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D5E94F0-46CB-FA4D-A7A8-113331E152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51003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and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F30EF0-1BA1-49CF-B35E-118E146B5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4EA1EC1-92B2-184C-A2CA-ECD7FC77C3B1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E08C3D-9B0C-4E74-9AB5-9E79B4458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9ACBD4-335A-44B8-985A-019168B9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29767D4-6CBA-4EAD-AEB1-73F0D103F5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2" y="-3332"/>
            <a:ext cx="12192632" cy="6861331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4334 h 6862334"/>
              <a:gd name="connsiteX1" fmla="*/ 3826612 w 9144000"/>
              <a:gd name="connsiteY1" fmla="*/ 0 h 6862334"/>
              <a:gd name="connsiteX2" fmla="*/ 9144000 w 9144000"/>
              <a:gd name="connsiteY2" fmla="*/ 4334 h 6862334"/>
              <a:gd name="connsiteX3" fmla="*/ 9144000 w 9144000"/>
              <a:gd name="connsiteY3" fmla="*/ 6862334 h 6862334"/>
              <a:gd name="connsiteX4" fmla="*/ 0 w 9144000"/>
              <a:gd name="connsiteY4" fmla="*/ 6862334 h 6862334"/>
              <a:gd name="connsiteX5" fmla="*/ 0 w 9144000"/>
              <a:gd name="connsiteY5" fmla="*/ 4334 h 6862334"/>
              <a:gd name="connsiteX0" fmla="*/ 4334 w 9148334"/>
              <a:gd name="connsiteY0" fmla="*/ 4334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4334 w 9148334"/>
              <a:gd name="connsiteY6" fmla="*/ 4334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4700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4700 h 6862334"/>
              <a:gd name="connsiteX0" fmla="*/ 3822752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22752 w 9144474"/>
              <a:gd name="connsiteY6" fmla="*/ 3744700 h 6862334"/>
              <a:gd name="connsiteX0" fmla="*/ 3818844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18844 w 9144474"/>
              <a:gd name="connsiteY6" fmla="*/ 3744700 h 6862334"/>
              <a:gd name="connsiteX0" fmla="*/ 3818844 w 9144474"/>
              <a:gd name="connsiteY0" fmla="*/ 3740792 h 6858426"/>
              <a:gd name="connsiteX1" fmla="*/ 3819270 w 9144474"/>
              <a:gd name="connsiteY1" fmla="*/ 0 h 6858426"/>
              <a:gd name="connsiteX2" fmla="*/ 9144474 w 9144474"/>
              <a:gd name="connsiteY2" fmla="*/ 426 h 6858426"/>
              <a:gd name="connsiteX3" fmla="*/ 9144474 w 9144474"/>
              <a:gd name="connsiteY3" fmla="*/ 6858426 h 6858426"/>
              <a:gd name="connsiteX4" fmla="*/ 474 w 9144474"/>
              <a:gd name="connsiteY4" fmla="*/ 6858426 h 6858426"/>
              <a:gd name="connsiteX5" fmla="*/ 48 w 9144474"/>
              <a:gd name="connsiteY5" fmla="*/ 3740365 h 6858426"/>
              <a:gd name="connsiteX6" fmla="*/ 3818844 w 9144474"/>
              <a:gd name="connsiteY6" fmla="*/ 3740792 h 6858426"/>
              <a:gd name="connsiteX0" fmla="*/ 3818844 w 12163899"/>
              <a:gd name="connsiteY0" fmla="*/ 3740792 h 6858426"/>
              <a:gd name="connsiteX1" fmla="*/ 3819270 w 12163899"/>
              <a:gd name="connsiteY1" fmla="*/ 0 h 6858426"/>
              <a:gd name="connsiteX2" fmla="*/ 12163899 w 12163899"/>
              <a:gd name="connsiteY2" fmla="*/ 426 h 6858426"/>
              <a:gd name="connsiteX3" fmla="*/ 9144474 w 12163899"/>
              <a:gd name="connsiteY3" fmla="*/ 6858426 h 6858426"/>
              <a:gd name="connsiteX4" fmla="*/ 474 w 12163899"/>
              <a:gd name="connsiteY4" fmla="*/ 6858426 h 6858426"/>
              <a:gd name="connsiteX5" fmla="*/ 48 w 12163899"/>
              <a:gd name="connsiteY5" fmla="*/ 3740365 h 6858426"/>
              <a:gd name="connsiteX6" fmla="*/ 3818844 w 12163899"/>
              <a:gd name="connsiteY6" fmla="*/ 3740792 h 6858426"/>
              <a:gd name="connsiteX0" fmla="*/ 3818844 w 12192474"/>
              <a:gd name="connsiteY0" fmla="*/ 3740792 h 6858426"/>
              <a:gd name="connsiteX1" fmla="*/ 3819270 w 12192474"/>
              <a:gd name="connsiteY1" fmla="*/ 0 h 6858426"/>
              <a:gd name="connsiteX2" fmla="*/ 12163899 w 12192474"/>
              <a:gd name="connsiteY2" fmla="*/ 426 h 6858426"/>
              <a:gd name="connsiteX3" fmla="*/ 12192474 w 12192474"/>
              <a:gd name="connsiteY3" fmla="*/ 6858426 h 6858426"/>
              <a:gd name="connsiteX4" fmla="*/ 474 w 12192474"/>
              <a:gd name="connsiteY4" fmla="*/ 6858426 h 6858426"/>
              <a:gd name="connsiteX5" fmla="*/ 48 w 12192474"/>
              <a:gd name="connsiteY5" fmla="*/ 3740365 h 6858426"/>
              <a:gd name="connsiteX6" fmla="*/ 3818844 w 12192474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2508"/>
              <a:gd name="connsiteY0" fmla="*/ 3740792 h 6858426"/>
              <a:gd name="connsiteX1" fmla="*/ 3819270 w 12192508"/>
              <a:gd name="connsiteY1" fmla="*/ 0 h 6858426"/>
              <a:gd name="connsiteX2" fmla="*/ 12189971 w 12192508"/>
              <a:gd name="connsiteY2" fmla="*/ 426 h 6858426"/>
              <a:gd name="connsiteX3" fmla="*/ 12192474 w 12192508"/>
              <a:gd name="connsiteY3" fmla="*/ 6858426 h 6858426"/>
              <a:gd name="connsiteX4" fmla="*/ 474 w 12192508"/>
              <a:gd name="connsiteY4" fmla="*/ 6858426 h 6858426"/>
              <a:gd name="connsiteX5" fmla="*/ 48 w 12192508"/>
              <a:gd name="connsiteY5" fmla="*/ 3740365 h 6858426"/>
              <a:gd name="connsiteX6" fmla="*/ 3818844 w 12192508"/>
              <a:gd name="connsiteY6" fmla="*/ 3740792 h 6858426"/>
              <a:gd name="connsiteX0" fmla="*/ 3818844 w 12192633"/>
              <a:gd name="connsiteY0" fmla="*/ 3740792 h 6858426"/>
              <a:gd name="connsiteX1" fmla="*/ 3819270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366 h 6858000"/>
              <a:gd name="connsiteX1" fmla="*/ 4590795 w 12192633"/>
              <a:gd name="connsiteY1" fmla="*/ 9099 h 6858000"/>
              <a:gd name="connsiteX2" fmla="*/ 12192633 w 12192633"/>
              <a:gd name="connsiteY2" fmla="*/ 0 h 6858000"/>
              <a:gd name="connsiteX3" fmla="*/ 12192474 w 12192633"/>
              <a:gd name="connsiteY3" fmla="*/ 6858000 h 6858000"/>
              <a:gd name="connsiteX4" fmla="*/ 474 w 12192633"/>
              <a:gd name="connsiteY4" fmla="*/ 6858000 h 6858000"/>
              <a:gd name="connsiteX5" fmla="*/ 48 w 12192633"/>
              <a:gd name="connsiteY5" fmla="*/ 3739939 h 6858000"/>
              <a:gd name="connsiteX6" fmla="*/ 3818844 w 12192633"/>
              <a:gd name="connsiteY6" fmla="*/ 3740366 h 6858000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4590369 w 12192633"/>
              <a:gd name="connsiteY0" fmla="*/ 402654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4590369 w 12192633"/>
              <a:gd name="connsiteY6" fmla="*/ 4026542 h 6858426"/>
              <a:gd name="connsiteX0" fmla="*/ 4590017 w 12192281"/>
              <a:gd name="connsiteY0" fmla="*/ 4026542 h 6858426"/>
              <a:gd name="connsiteX1" fmla="*/ 4590443 w 12192281"/>
              <a:gd name="connsiteY1" fmla="*/ 0 h 6858426"/>
              <a:gd name="connsiteX2" fmla="*/ 12192281 w 12192281"/>
              <a:gd name="connsiteY2" fmla="*/ 426 h 6858426"/>
              <a:gd name="connsiteX3" fmla="*/ 12192122 w 12192281"/>
              <a:gd name="connsiteY3" fmla="*/ 6858426 h 6858426"/>
              <a:gd name="connsiteX4" fmla="*/ 122 w 12192281"/>
              <a:gd name="connsiteY4" fmla="*/ 6858426 h 6858426"/>
              <a:gd name="connsiteX5" fmla="*/ 9221 w 12192281"/>
              <a:gd name="connsiteY5" fmla="*/ 4054690 h 6858426"/>
              <a:gd name="connsiteX6" fmla="*/ 4590017 w 12192281"/>
              <a:gd name="connsiteY6" fmla="*/ 4026542 h 6858426"/>
              <a:gd name="connsiteX0" fmla="*/ 4590368 w 12192632"/>
              <a:gd name="connsiteY0" fmla="*/ 402654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26542 h 6858426"/>
              <a:gd name="connsiteX0" fmla="*/ 4590368 w 12192632"/>
              <a:gd name="connsiteY0" fmla="*/ 403606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36067 h 6858426"/>
              <a:gd name="connsiteX0" fmla="*/ 4590368 w 12192632"/>
              <a:gd name="connsiteY0" fmla="*/ 404559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5592 h 6858426"/>
              <a:gd name="connsiteX0" fmla="*/ 4590368 w 12192632"/>
              <a:gd name="connsiteY0" fmla="*/ 405511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55117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4696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4698 h 6861331"/>
              <a:gd name="connsiteX1" fmla="*/ 4587462 w 12192632"/>
              <a:gd name="connsiteY1" fmla="*/ 2905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4587036 w 12192632"/>
              <a:gd name="connsiteY6" fmla="*/ 4044698 h 6861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632" h="6861331">
                <a:moveTo>
                  <a:pt x="4587036" y="4044698"/>
                </a:moveTo>
                <a:cubicBezTo>
                  <a:pt x="4588481" y="2795162"/>
                  <a:pt x="4586017" y="1252441"/>
                  <a:pt x="4587462" y="2905"/>
                </a:cubicBezTo>
                <a:lnTo>
                  <a:pt x="12192632" y="0"/>
                </a:lnTo>
                <a:cubicBezTo>
                  <a:pt x="12192225" y="2286000"/>
                  <a:pt x="12192880" y="4575331"/>
                  <a:pt x="12192473" y="6861331"/>
                </a:cubicBezTo>
                <a:lnTo>
                  <a:pt x="473" y="6861331"/>
                </a:lnTo>
                <a:cubicBezTo>
                  <a:pt x="-972" y="5821977"/>
                  <a:pt x="1492" y="5083624"/>
                  <a:pt x="47" y="4044270"/>
                </a:cubicBezTo>
                <a:lnTo>
                  <a:pt x="4587036" y="40446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17F807A-F369-4FBC-B5EB-675732DA4D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98" y="377826"/>
            <a:ext cx="3860802" cy="30511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003198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D7000A8D-916B-6A46-A8CB-3E48942EBD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F877A01-E9E8-0346-87B6-A50C0F85A296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842970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F0808-BBA3-3A41-B407-560B02C099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83BC71C-5BC4-4448-9864-CA26E655EAFE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17784586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3628C8-BDEC-4C4C-BE6D-FF9ED0F5BA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7E39A4D-45C0-614F-BA3D-48CE68D5EA38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7113025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E57F7F5-FC77-425E-A2A6-DDD1D50110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57175" y="377825"/>
            <a:ext cx="5157000" cy="3981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6A93B3-E055-4858-9A45-84EE75DE5C27}"/>
              </a:ext>
            </a:extLst>
          </p:cNvPr>
          <p:cNvSpPr/>
          <p:nvPr userDrawn="1"/>
        </p:nvSpPr>
        <p:spPr>
          <a:xfrm>
            <a:off x="11814175" y="-175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C4595B4-A431-E645-B62F-FD05F8FF8E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489F9C1-FA19-D240-83AC-6F6609C15122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1503296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92600" y="4950000"/>
            <a:ext cx="2629000" cy="143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8680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21600" y="894600"/>
            <a:ext cx="5270400" cy="405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3914600" y="45738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FD26272-1046-C440-83DF-DE260B8CF89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ADD38CF-8BDA-4241-92C2-0DB8F25AD8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868309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52807F74-89C1-C74A-9216-F45E8CFC44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1D2148A-3978-D24D-BAB5-940EE414094B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58563676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05570-C002-6A4D-8BF8-3DBE2A5A424A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3797064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01E205-D763-B848-ACFA-ED6174246933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56769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812C503-F4FA-E449-82E7-E8589FB68D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8076" y="2147778"/>
            <a:ext cx="5556650" cy="250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449501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4DE5F6E-0235-224E-8AA4-87B78D2BDF0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8076" y="2147778"/>
            <a:ext cx="5556650" cy="250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711995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CCC95244-134A-B743-9347-7EB93D327E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076" y="2147777"/>
            <a:ext cx="5556650" cy="2509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928746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446259"/>
            <a:ext cx="10962696" cy="1076155"/>
          </a:xfrm>
        </p:spPr>
        <p:txBody>
          <a:bodyPr/>
          <a:lstStyle/>
          <a:p>
            <a:r>
              <a:rPr lang="en-US" dirty="0"/>
              <a:t>&lt;2 colum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16720" y="1853399"/>
            <a:ext cx="526631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19545" y="1853399"/>
            <a:ext cx="526631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 descr="mrk_ifl_lg_rgb_dkgry_ppt.png"/>
          <p:cNvPicPr>
            <a:picLocks noChangeAspect="1"/>
          </p:cNvPicPr>
          <p:nvPr userDrawn="1"/>
        </p:nvPicPr>
        <p:blipFill>
          <a:blip r:embed="rId2"/>
          <a:srcRect l="8299" t="21858" r="7054" b="21311"/>
          <a:stretch>
            <a:fillRect/>
          </a:stretch>
        </p:blipFill>
        <p:spPr>
          <a:xfrm>
            <a:off x="8516025" y="6194424"/>
            <a:ext cx="2195132" cy="559129"/>
          </a:xfrm>
          <a:prstGeom prst="rect">
            <a:avLst/>
          </a:prstGeom>
        </p:spPr>
      </p:pic>
      <p:pic>
        <p:nvPicPr>
          <p:cNvPr id="8" name="Picture 2" descr="C:\Users\Forringr\AppData\Local\Microsoft\Windows\Temporary Internet Files\Content.Outlook\WRMKZ3N8\MGCDA_ICON_NEW TAG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4545" y="6261034"/>
            <a:ext cx="1133192" cy="493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 userDrawn="1"/>
        </p:nvSpPr>
        <p:spPr>
          <a:xfrm>
            <a:off x="4810439" y="6292349"/>
            <a:ext cx="1515979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r"/>
            <a:r>
              <a:rPr lang="en-US" sz="1400" b="1" kern="600" spc="30" dirty="0">
                <a:solidFill>
                  <a:schemeClr val="accent2"/>
                </a:solidFill>
              </a:rPr>
              <a:t>Global </a:t>
            </a:r>
          </a:p>
          <a:p>
            <a:pPr algn="r"/>
            <a:r>
              <a:rPr lang="en-US" sz="1400" b="1" kern="600" spc="30" dirty="0">
                <a:solidFill>
                  <a:schemeClr val="accent2"/>
                </a:solidFill>
              </a:rPr>
              <a:t>Analytics</a:t>
            </a:r>
          </a:p>
        </p:txBody>
      </p:sp>
      <p:pic>
        <p:nvPicPr>
          <p:cNvPr id="15" name="bjClassifierImageBottom">
            <a:extLst>
              <a:ext uri="{FF2B5EF4-FFF2-40B4-BE49-F238E27FC236}">
                <a16:creationId xmlns:a16="http://schemas.microsoft.com/office/drawing/2014/main" id="{A61F3296-3A60-48B0-8597-AC5CDC2A428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792549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2978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/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MRK_FirstPage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9211" y="-4858"/>
            <a:ext cx="12210420" cy="6867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6754" y="1185905"/>
            <a:ext cx="9298822" cy="2239920"/>
          </a:xfrm>
        </p:spPr>
        <p:txBody>
          <a:bodyPr/>
          <a:lstStyle>
            <a:lvl1pPr>
              <a:lnSpc>
                <a:spcPct val="78000"/>
              </a:lnSpc>
              <a:defRPr sz="4200" cap="all" spc="13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16755" y="5628837"/>
            <a:ext cx="4801849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 spc="3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Insert subtitle – optional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16755" y="5374232"/>
            <a:ext cx="2581947" cy="189351"/>
          </a:xfrm>
        </p:spPr>
        <p:txBody>
          <a:bodyPr/>
          <a:lstStyle>
            <a:lvl1pPr>
              <a:defRPr sz="1400" spc="3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Date Here</a:t>
            </a:r>
          </a:p>
        </p:txBody>
      </p:sp>
    </p:spTree>
    <p:extLst>
      <p:ext uri="{BB962C8B-B14F-4D97-AF65-F5344CB8AC3E}">
        <p14:creationId xmlns:p14="http://schemas.microsoft.com/office/powerpoint/2010/main" val="133236095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divider – Warm Gra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RK_SubDivider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9211" y="-4858"/>
            <a:ext cx="12210420" cy="6867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2256205"/>
            <a:ext cx="6570528" cy="2345590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3600" b="0" cap="none" spc="5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19545" y="4631270"/>
            <a:ext cx="6570528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rgbClr val="000000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93462" y="5977662"/>
            <a:ext cx="4835583" cy="789128"/>
            <a:chOff x="222030" y="5963374"/>
            <a:chExt cx="4834324" cy="789128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2030" y="5963374"/>
              <a:ext cx="789128" cy="789128"/>
            </a:xfrm>
            <a:prstGeom prst="rect">
              <a:avLst/>
            </a:prstGeom>
            <a:effectLst>
              <a:softEdge rad="38100"/>
            </a:effectLst>
          </p:spPr>
        </p:pic>
        <p:sp>
          <p:nvSpPr>
            <p:cNvPr id="10" name="TextBox 9"/>
            <p:cNvSpPr txBox="1"/>
            <p:nvPr/>
          </p:nvSpPr>
          <p:spPr>
            <a:xfrm>
              <a:off x="1053624" y="6019384"/>
              <a:ext cx="4002730" cy="677108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r>
                <a:rPr lang="en-US" sz="2000" b="1" u="sng" kern="600" spc="30" dirty="0">
                  <a:solidFill>
                    <a:schemeClr val="tx1"/>
                  </a:solidFill>
                  <a:uFill>
                    <a:solidFill>
                      <a:schemeClr val="accent2"/>
                    </a:solidFill>
                  </a:uFill>
                </a:rPr>
                <a:t>CUSTOMER &amp; DATA ANALYTICS</a:t>
              </a:r>
            </a:p>
            <a:p>
              <a:r>
                <a:rPr lang="en-US" sz="18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aking </a:t>
              </a:r>
              <a:r>
                <a:rPr lang="en-US" sz="24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IG</a:t>
              </a:r>
              <a:r>
                <a:rPr lang="en-US" sz="18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Data </a:t>
              </a:r>
              <a:r>
                <a:rPr lang="en-US" sz="14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MAL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9865929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>
            <a:extLst>
              <a:ext uri="{FF2B5EF4-FFF2-40B4-BE49-F238E27FC236}">
                <a16:creationId xmlns:a16="http://schemas.microsoft.com/office/drawing/2014/main" id="{C477063E-CAEB-7D03-A6EB-EF34373B869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142317" y="304800"/>
            <a:ext cx="33867" cy="5956300"/>
          </a:xfrm>
          <a:prstGeom prst="line">
            <a:avLst/>
          </a:prstGeom>
          <a:noFill/>
          <a:ln w="25400">
            <a:solidFill>
              <a:srgbClr val="009999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/>
          </a:p>
        </p:txBody>
      </p:sp>
      <p:graphicFrame>
        <p:nvGraphicFramePr>
          <p:cNvPr id="3" name="Object 3">
            <a:extLst>
              <a:ext uri="{FF2B5EF4-FFF2-40B4-BE49-F238E27FC236}">
                <a16:creationId xmlns:a16="http://schemas.microsoft.com/office/drawing/2014/main" id="{4B247AFD-FEAD-F673-3079-7000F2032F9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459818" y="1068388"/>
          <a:ext cx="3363383" cy="760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icture" r:id="rId2" imgW="3373438" imgH="1017588" progId="Word.Picture.8">
                  <p:embed/>
                </p:oleObj>
              </mc:Choice>
              <mc:Fallback>
                <p:oleObj name="Picture" r:id="rId2" imgW="3373438" imgH="1017588" progId="Word.Picture.8">
                  <p:embed/>
                  <p:pic>
                    <p:nvPicPr>
                      <p:cNvPr id="3" name="Object 3">
                        <a:extLst>
                          <a:ext uri="{FF2B5EF4-FFF2-40B4-BE49-F238E27FC236}">
                            <a16:creationId xmlns:a16="http://schemas.microsoft.com/office/drawing/2014/main" id="{4B247AFD-FEAD-F673-3079-7000F2032F9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59818" y="1068388"/>
                        <a:ext cx="3363383" cy="7604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951938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38600" y="3384000"/>
            <a:ext cx="1913400" cy="1683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052000" y="0"/>
            <a:ext cx="4140000" cy="3384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7674000" y="600375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02C68CA-982E-4DE8-82EB-BF63660F9C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5067000"/>
            <a:ext cx="1351800" cy="936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54940B72-A25F-DD4E-B080-EF804C93C3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A9217C54-93DD-8E47-A23F-F97CF894E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787701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1EDEA763-B2AB-68CF-B447-2901F6AC4AA7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18C1B3F-3110-4037-A9CD-B0AA591C6CC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3009580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560050EE-865A-1123-5546-A66F92621C9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135578A-FFD5-42A5-9949-8E0D4DB017B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0532833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6400" y="1371600"/>
            <a:ext cx="5588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71600"/>
            <a:ext cx="5588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3E6DB07-AA27-9998-1B6C-695512452577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E89D376-3BFD-4829-8560-AB2CE8AF8E5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0057155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B672D9CF-2960-CA08-46EC-12A7C9A5920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D6E94B7-DDDA-458F-919C-15F5D7F0273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4870549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0E605CC5-ADBE-CBE4-D2E7-0540C8BDC168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8047664-89CD-49D1-8F45-414C74406B3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3981226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CD24A534-B496-7B66-5D49-5CDB17DD67E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1406C63-3835-4AE8-9282-7629EACC99A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3347045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B38B614-285F-C5B8-FEAB-AFED56C072C5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5F447D3-D1AB-468D-BB4D-01E0AE0BA60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9550941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5BD3A62-2260-692A-975A-E516AA0BF058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2209AC-7D88-4E94-A645-CE101CF0B9C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5050650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14AE44CA-E0D4-AEFE-E21C-1791BEF63804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21E8D0E-9A85-411A-A413-168C297A908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0773052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81533" y="87314"/>
            <a:ext cx="2904067" cy="60848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9333" y="87314"/>
            <a:ext cx="8509000" cy="60848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7BF790A8-87F3-22B1-E279-A6690EFAA4A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3FACECD-69C7-4984-BF7A-7B1F9A97D55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606191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4" y="1228725"/>
            <a:ext cx="9445752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4" y="3682800"/>
            <a:ext cx="9445752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E3081D7-228C-7F4B-B2F0-F8F6D2CAB5B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A21D473B-03CC-A840-9172-E75A8523CF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336934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9333" y="87314"/>
            <a:ext cx="9448800" cy="6953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06400" y="1371600"/>
            <a:ext cx="11379200" cy="48006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3B7E489A-EDDB-683C-B456-0CEFBF455B3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F47CF3D-84EC-4FDF-8FCC-0F827F36750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4926260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9333" y="87314"/>
            <a:ext cx="9448800" cy="6953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06400" y="1371600"/>
            <a:ext cx="5588000" cy="4800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71600"/>
            <a:ext cx="5588000" cy="4800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10046AD-F425-C432-57DF-096B5E36D43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BDE7387-3260-44C0-B6E1-8034DE69427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8807595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9333" y="87314"/>
            <a:ext cx="9448800" cy="6953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06400" y="1371600"/>
            <a:ext cx="5588000" cy="4800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7600" y="1371600"/>
            <a:ext cx="5588000" cy="2324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197600" y="3848100"/>
            <a:ext cx="5588000" cy="2324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46B8F438-440A-6378-8F52-4573FD8A1B3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DC38B0-D1D0-4E0C-8A1E-A7E14399D73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4215094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169333" y="87314"/>
            <a:ext cx="9448800" cy="6953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06400" y="1371600"/>
            <a:ext cx="5588000" cy="2324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7600" y="1371600"/>
            <a:ext cx="5588000" cy="2324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06400" y="3848100"/>
            <a:ext cx="5588000" cy="2324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7600" y="3848100"/>
            <a:ext cx="5588000" cy="2324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AEDC8879-2F92-564E-D923-32B4EB3CADE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033CDF6-48B6-485D-9DA8-A6DEBCF9965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382138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11436350" cy="4456111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95877B-9B68-6D4A-BCF8-960EAC37048D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269889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622" y="1925636"/>
            <a:ext cx="2104845" cy="4456114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2599" y="1925636"/>
            <a:ext cx="7521575" cy="4456111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2286A-215E-1447-8183-44810891358B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C476A1C-450C-4513-925D-8391EFA2E70F}"/>
              </a:ext>
            </a:extLst>
          </p:cNvPr>
          <p:cNvCxnSpPr/>
          <p:nvPr userDrawn="1"/>
        </p:nvCxnSpPr>
        <p:spPr>
          <a:xfrm>
            <a:off x="3051313" y="516835"/>
            <a:ext cx="0" cy="596334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979248C1-85D6-0A41-9196-18D936195E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41799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60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fld id="{05972683-51EE-5F41-850D-F4F103575C34}" type="datetime4">
              <a:rPr lang="en-US" smtClean="0"/>
              <a:t>September 25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none" baseline="0">
                <a:solidFill>
                  <a:srgbClr val="9EA7B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8B2952-F7B1-FB4B-A859-8048BF0DBB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4" y="1929384"/>
            <a:ext cx="11439144" cy="44531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10E875C-199D-1849-9C39-2C6C19A6CF53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3" name="MSIPCMContentMarking" descr="{&quot;HashCode&quot;:1468442394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46AA26BA-D8B4-4593-8CCC-FC18C6E052FD}"/>
              </a:ext>
            </a:extLst>
          </p:cNvPr>
          <p:cNvSpPr txBox="1"/>
          <p:nvPr userDrawn="1"/>
        </p:nvSpPr>
        <p:spPr>
          <a:xfrm>
            <a:off x="0" y="0"/>
            <a:ext cx="1018019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solidFill>
                  <a:srgbClr val="00B294"/>
                </a:solidFill>
                <a:latin typeface="Calibri" panose="020F0502020204030204" pitchFamily="34" charset="0"/>
              </a:rPr>
              <a:t>Proprietary</a:t>
            </a:r>
            <a:endParaRPr lang="en-US" sz="1200" dirty="0">
              <a:solidFill>
                <a:srgbClr val="00B294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4049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722" r:id="rId8"/>
    <p:sldLayoutId id="2147483723" r:id="rId9"/>
    <p:sldLayoutId id="2147483676" r:id="rId10"/>
    <p:sldLayoutId id="2147483721" r:id="rId11"/>
    <p:sldLayoutId id="2147483724" r:id="rId12"/>
    <p:sldLayoutId id="2147483710" r:id="rId13"/>
    <p:sldLayoutId id="2147483709" r:id="rId14"/>
    <p:sldLayoutId id="2147483691" r:id="rId15"/>
    <p:sldLayoutId id="2147483729" r:id="rId16"/>
    <p:sldLayoutId id="2147483725" r:id="rId17"/>
    <p:sldLayoutId id="2147483701" r:id="rId18"/>
    <p:sldLayoutId id="2147483702" r:id="rId19"/>
    <p:sldLayoutId id="2147483726" r:id="rId20"/>
    <p:sldLayoutId id="2147483728" r:id="rId21"/>
    <p:sldLayoutId id="2147483727" r:id="rId22"/>
    <p:sldLayoutId id="2147483730" r:id="rId23"/>
    <p:sldLayoutId id="2147483731" r:id="rId24"/>
    <p:sldLayoutId id="2147483700" r:id="rId25"/>
    <p:sldLayoutId id="2147483705" r:id="rId26"/>
    <p:sldLayoutId id="2147483704" r:id="rId27"/>
    <p:sldLayoutId id="2147483706" r:id="rId28"/>
    <p:sldLayoutId id="2147483707" r:id="rId29"/>
    <p:sldLayoutId id="2147483703" r:id="rId30"/>
    <p:sldLayoutId id="2147483696" r:id="rId31"/>
    <p:sldLayoutId id="2147483695" r:id="rId32"/>
    <p:sldLayoutId id="2147483697" r:id="rId33"/>
    <p:sldLayoutId id="2147483675" r:id="rId34"/>
    <p:sldLayoutId id="2147483692" r:id="rId35"/>
    <p:sldLayoutId id="2147483693" r:id="rId36"/>
    <p:sldLayoutId id="2147483698" r:id="rId37"/>
    <p:sldLayoutId id="2147483699" r:id="rId38"/>
    <p:sldLayoutId id="2147483689" r:id="rId39"/>
    <p:sldLayoutId id="2147483690" r:id="rId40"/>
    <p:sldLayoutId id="2147483711" r:id="rId41"/>
    <p:sldLayoutId id="2147483715" r:id="rId42"/>
    <p:sldLayoutId id="2147483712" r:id="rId43"/>
    <p:sldLayoutId id="2147483713" r:id="rId44"/>
    <p:sldLayoutId id="2147483714" r:id="rId45"/>
    <p:sldLayoutId id="2147483718" r:id="rId46"/>
    <p:sldLayoutId id="2147483716" r:id="rId47"/>
    <p:sldLayoutId id="2147483717" r:id="rId48"/>
    <p:sldLayoutId id="2147483720" r:id="rId49"/>
    <p:sldLayoutId id="2147483719" r:id="rId50"/>
    <p:sldLayoutId id="2147483678" r:id="rId51"/>
    <p:sldLayoutId id="2147483679" r:id="rId52"/>
    <p:sldLayoutId id="2147483732" r:id="rId53"/>
    <p:sldLayoutId id="2147483733" r:id="rId54"/>
    <p:sldLayoutId id="2147483734" r:id="rId55"/>
    <p:sldLayoutId id="2147483735" r:id="rId56"/>
    <p:sldLayoutId id="2147483738" r:id="rId57"/>
    <p:sldLayoutId id="2147483739" r:id="rId58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75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9250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65138" indent="-1158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581025" indent="-1158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400"/>
        </a:spcAft>
        <a:buFont typeface="Arial" panose="020B0604020202020204" pitchFamily="34" charset="0"/>
        <a:buNone/>
        <a:defRPr lang="en-US" sz="1200" b="1" kern="1200" dirty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lang="en-US" sz="3000" kern="1200" dirty="0">
          <a:solidFill>
            <a:schemeClr val="accent1"/>
          </a:solidFill>
          <a:latin typeface="+mn-lt"/>
          <a:ea typeface="+mn-ea"/>
          <a:cs typeface="+mn-cs"/>
        </a:defRPr>
      </a:lvl8pPr>
      <a:lvl9pPr marL="3657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38" userDrawn="1">
          <p15:clr>
            <a:srgbClr val="F26B43"/>
          </p15:clr>
        </p15:guide>
        <p15:guide id="4" pos="2511" userDrawn="1">
          <p15:clr>
            <a:srgbClr val="F26B43"/>
          </p15:clr>
        </p15:guide>
        <p15:guide id="5" pos="2704" userDrawn="1">
          <p15:clr>
            <a:srgbClr val="F26B43"/>
          </p15:clr>
        </p15:guide>
        <p15:guide id="6" pos="4977" userDrawn="1">
          <p15:clr>
            <a:srgbClr val="F26B43"/>
          </p15:clr>
        </p15:guide>
        <p15:guide id="7" pos="5169" userDrawn="1">
          <p15:clr>
            <a:srgbClr val="F26B43"/>
          </p15:clr>
        </p15:guide>
        <p15:guide id="8" pos="7442" userDrawn="1">
          <p15:clr>
            <a:srgbClr val="F26B43"/>
          </p15:clr>
        </p15:guide>
        <p15:guide id="9" orient="horz" pos="238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orient="horz" pos="1751" userDrawn="1">
          <p15:clr>
            <a:srgbClr val="F26B43"/>
          </p15:clr>
        </p15:guide>
        <p15:guide id="12" orient="horz" pos="1213" userDrawn="1">
          <p15:clr>
            <a:srgbClr val="F26B43"/>
          </p15:clr>
        </p15:guide>
        <p15:guide id="13" orient="horz" pos="77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id="{8218822E-D2A3-4DE6-9413-06AB7E9C7B1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69333" y="87314"/>
            <a:ext cx="9448800" cy="69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431F5F01-A244-2938-3028-2BC8D445392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371600"/>
            <a:ext cx="11379200" cy="480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19812" name="Rectangle 4">
            <a:extLst>
              <a:ext uri="{FF2B5EF4-FFF2-40B4-BE49-F238E27FC236}">
                <a16:creationId xmlns:a16="http://schemas.microsoft.com/office/drawing/2014/main" id="{FBFF05DC-D91B-A762-19F6-5E33AAFBA4B7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2400" y="6553200"/>
            <a:ext cx="6096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900" b="0"/>
            </a:lvl1pPr>
          </a:lstStyle>
          <a:p>
            <a:fld id="{36D42897-4470-4722-8C9F-E11D3D663195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1029" name="Line 5">
            <a:extLst>
              <a:ext uri="{FF2B5EF4-FFF2-40B4-BE49-F238E27FC236}">
                <a16:creationId xmlns:a16="http://schemas.microsoft.com/office/drawing/2014/main" id="{B8F76071-635B-AE50-A9F5-DF4342F6D5A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304800" y="863600"/>
            <a:ext cx="11582400" cy="0"/>
          </a:xfrm>
          <a:prstGeom prst="line">
            <a:avLst/>
          </a:prstGeom>
          <a:noFill/>
          <a:ln w="28575">
            <a:solidFill>
              <a:srgbClr val="00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900"/>
          </a:p>
        </p:txBody>
      </p:sp>
      <p:sp>
        <p:nvSpPr>
          <p:cNvPr id="1031" name="AutoShape 14">
            <a:extLst>
              <a:ext uri="{FF2B5EF4-FFF2-40B4-BE49-F238E27FC236}">
                <a16:creationId xmlns:a16="http://schemas.microsoft.com/office/drawing/2014/main" id="{9BE0461F-DB49-6DBE-3370-60FCE435FE2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464800" y="3175"/>
            <a:ext cx="1625600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900"/>
          </a:p>
        </p:txBody>
      </p:sp>
      <p:sp>
        <p:nvSpPr>
          <p:cNvPr id="1033" name="Rectangle 27">
            <a:extLst>
              <a:ext uri="{FF2B5EF4-FFF2-40B4-BE49-F238E27FC236}">
                <a16:creationId xmlns:a16="http://schemas.microsoft.com/office/drawing/2014/main" id="{4464B6D4-37B8-1531-B709-C7773607E17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55300" y="566739"/>
            <a:ext cx="13465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i="1">
                <a:solidFill>
                  <a:srgbClr val="FFFFFF"/>
                </a:solidFill>
              </a:rPr>
              <a:t>1T</a:t>
            </a:r>
            <a:endParaRPr lang="en-US" altLang="en-US" sz="900" b="0"/>
          </a:p>
        </p:txBody>
      </p:sp>
      <p:grpSp>
        <p:nvGrpSpPr>
          <p:cNvPr id="1034" name="Group 33">
            <a:extLst>
              <a:ext uri="{FF2B5EF4-FFF2-40B4-BE49-F238E27FC236}">
                <a16:creationId xmlns:a16="http://schemas.microsoft.com/office/drawing/2014/main" id="{35AC038B-8A57-774F-C152-95D8F3135BC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0598151" y="538163"/>
            <a:ext cx="281516" cy="176212"/>
            <a:chOff x="5007" y="339"/>
            <a:chExt cx="133" cy="111"/>
          </a:xfrm>
        </p:grpSpPr>
        <p:sp>
          <p:nvSpPr>
            <p:cNvPr id="1065" name="Freeform 28">
              <a:extLst>
                <a:ext uri="{FF2B5EF4-FFF2-40B4-BE49-F238E27FC236}">
                  <a16:creationId xmlns:a16="http://schemas.microsoft.com/office/drawing/2014/main" id="{4EB76EEA-8F13-6E9A-F818-D9430E9AF9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21 h 4000"/>
                <a:gd name="T2" fmla="*/ 7 w 4800"/>
                <a:gd name="T3" fmla="*/ 14 h 4000"/>
                <a:gd name="T4" fmla="*/ 119 w 4800"/>
                <a:gd name="T5" fmla="*/ 14 h 4000"/>
                <a:gd name="T6" fmla="*/ 119 w 4800"/>
                <a:gd name="T7" fmla="*/ 7 h 4000"/>
                <a:gd name="T8" fmla="*/ 126 w 4800"/>
                <a:gd name="T9" fmla="*/ 0 h 4000"/>
                <a:gd name="T10" fmla="*/ 133 w 4800"/>
                <a:gd name="T11" fmla="*/ 7 h 4000"/>
                <a:gd name="T12" fmla="*/ 133 w 4800"/>
                <a:gd name="T13" fmla="*/ 90 h 4000"/>
                <a:gd name="T14" fmla="*/ 126 w 4800"/>
                <a:gd name="T15" fmla="*/ 97 h 4000"/>
                <a:gd name="T16" fmla="*/ 14 w 4800"/>
                <a:gd name="T17" fmla="*/ 97 h 4000"/>
                <a:gd name="T18" fmla="*/ 14 w 4800"/>
                <a:gd name="T19" fmla="*/ 104 h 4000"/>
                <a:gd name="T20" fmla="*/ 7 w 4800"/>
                <a:gd name="T21" fmla="*/ 111 h 4000"/>
                <a:gd name="T22" fmla="*/ 0 w 4800"/>
                <a:gd name="T23" fmla="*/ 104 h 4000"/>
                <a:gd name="T24" fmla="*/ 0 w 4800"/>
                <a:gd name="T25" fmla="*/ 21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066" name="Freeform 29">
              <a:extLst>
                <a:ext uri="{FF2B5EF4-FFF2-40B4-BE49-F238E27FC236}">
                  <a16:creationId xmlns:a16="http://schemas.microsoft.com/office/drawing/2014/main" id="{0F7A2097-BB7A-A544-9EEE-3ADDA142F6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4 h 375"/>
                <a:gd name="T2" fmla="*/ 7 w 500"/>
                <a:gd name="T3" fmla="*/ 11 h 375"/>
                <a:gd name="T4" fmla="*/ 14 w 500"/>
                <a:gd name="T5" fmla="*/ 4 h 375"/>
                <a:gd name="T6" fmla="*/ 11 w 500"/>
                <a:gd name="T7" fmla="*/ 0 h 375"/>
                <a:gd name="T8" fmla="*/ 7 w 500"/>
                <a:gd name="T9" fmla="*/ 4 h 375"/>
                <a:gd name="T10" fmla="*/ 7 w 500"/>
                <a:gd name="T11" fmla="*/ 11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067" name="Line 30">
              <a:extLst>
                <a:ext uri="{FF2B5EF4-FFF2-40B4-BE49-F238E27FC236}">
                  <a16:creationId xmlns:a16="http://schemas.microsoft.com/office/drawing/2014/main" id="{CF597197-BBAF-0A52-47C3-76C62560F65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068" name="Freeform 31">
              <a:extLst>
                <a:ext uri="{FF2B5EF4-FFF2-40B4-BE49-F238E27FC236}">
                  <a16:creationId xmlns:a16="http://schemas.microsoft.com/office/drawing/2014/main" id="{C25980C1-4D39-3B1B-17D9-E617446856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14 w 500"/>
                <a:gd name="T1" fmla="*/ 0 h 250"/>
                <a:gd name="T2" fmla="*/ 7 w 500"/>
                <a:gd name="T3" fmla="*/ 7 h 250"/>
                <a:gd name="T4" fmla="*/ 0 w 500"/>
                <a:gd name="T5" fmla="*/ 7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069" name="Freeform 32">
              <a:extLst>
                <a:ext uri="{FF2B5EF4-FFF2-40B4-BE49-F238E27FC236}">
                  <a16:creationId xmlns:a16="http://schemas.microsoft.com/office/drawing/2014/main" id="{E1EF9B18-DE41-7687-CDD6-D04F274083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4 w 250"/>
                <a:gd name="T3" fmla="*/ 4 h 250"/>
                <a:gd name="T4" fmla="*/ 7 w 250"/>
                <a:gd name="T5" fmla="*/ 0 h 250"/>
                <a:gd name="T6" fmla="*/ 7 w 250"/>
                <a:gd name="T7" fmla="*/ 7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</p:grpSp>
      <p:sp>
        <p:nvSpPr>
          <p:cNvPr id="1037" name="Rectangle 39">
            <a:extLst>
              <a:ext uri="{FF2B5EF4-FFF2-40B4-BE49-F238E27FC236}">
                <a16:creationId xmlns:a16="http://schemas.microsoft.com/office/drawing/2014/main" id="{6FB1990C-5746-A8F5-2501-865BB1CB1A7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968567" y="33339"/>
            <a:ext cx="6412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I</a:t>
            </a:r>
            <a:endParaRPr lang="en-US" altLang="en-US" sz="900" b="0"/>
          </a:p>
        </p:txBody>
      </p:sp>
      <p:sp>
        <p:nvSpPr>
          <p:cNvPr id="1038" name="Rectangle 40">
            <a:extLst>
              <a:ext uri="{FF2B5EF4-FFF2-40B4-BE49-F238E27FC236}">
                <a16:creationId xmlns:a16="http://schemas.microsoft.com/office/drawing/2014/main" id="{2B0506E8-2EE1-BE20-016A-527F11EEE75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032068" y="163514"/>
            <a:ext cx="15709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M</a:t>
            </a:r>
            <a:endParaRPr lang="en-US" altLang="en-US" sz="900" b="0"/>
          </a:p>
        </p:txBody>
      </p:sp>
      <p:sp>
        <p:nvSpPr>
          <p:cNvPr id="1039" name="Rectangle 41">
            <a:extLst>
              <a:ext uri="{FF2B5EF4-FFF2-40B4-BE49-F238E27FC236}">
                <a16:creationId xmlns:a16="http://schemas.microsoft.com/office/drawing/2014/main" id="{F0F0FF94-0DBF-E955-E333-69E6B91465C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171767" y="274639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&amp;</a:t>
            </a:r>
            <a:endParaRPr lang="en-US" altLang="en-US" sz="900" b="0"/>
          </a:p>
        </p:txBody>
      </p:sp>
      <p:sp>
        <p:nvSpPr>
          <p:cNvPr id="1040" name="Rectangle 42">
            <a:extLst>
              <a:ext uri="{FF2B5EF4-FFF2-40B4-BE49-F238E27FC236}">
                <a16:creationId xmlns:a16="http://schemas.microsoft.com/office/drawing/2014/main" id="{A727FD77-9992-7E1E-44CF-5FD15E1340A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13584" y="409576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D</a:t>
            </a:r>
            <a:endParaRPr lang="en-US" altLang="en-US" sz="900" b="0"/>
          </a:p>
        </p:txBody>
      </p:sp>
      <p:sp>
        <p:nvSpPr>
          <p:cNvPr id="1041" name="Rectangle 43">
            <a:extLst>
              <a:ext uri="{FF2B5EF4-FFF2-40B4-BE49-F238E27FC236}">
                <a16:creationId xmlns:a16="http://schemas.microsoft.com/office/drawing/2014/main" id="{27CA0549-D2E7-0D0E-D779-4E8421C1A79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61751" y="527050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S</a:t>
            </a:r>
            <a:endParaRPr lang="en-US" altLang="en-US" sz="900" b="0"/>
          </a:p>
        </p:txBody>
      </p:sp>
      <p:sp>
        <p:nvSpPr>
          <p:cNvPr id="1044" name="Rectangle 49">
            <a:extLst>
              <a:ext uri="{FF2B5EF4-FFF2-40B4-BE49-F238E27FC236}">
                <a16:creationId xmlns:a16="http://schemas.microsoft.com/office/drawing/2014/main" id="{91C6AA9F-E7BE-DFAF-FE88-B589AD1E42C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894484" y="33339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C</a:t>
            </a:r>
            <a:endParaRPr lang="en-US" altLang="en-US" sz="900" b="0"/>
          </a:p>
        </p:txBody>
      </p:sp>
      <p:sp>
        <p:nvSpPr>
          <p:cNvPr id="1045" name="Rectangle 50">
            <a:extLst>
              <a:ext uri="{FF2B5EF4-FFF2-40B4-BE49-F238E27FC236}">
                <a16:creationId xmlns:a16="http://schemas.microsoft.com/office/drawing/2014/main" id="{08FD5756-143D-063D-CE27-49C0FD611E9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032067" y="163514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A</a:t>
            </a:r>
            <a:endParaRPr lang="en-US" altLang="en-US" sz="900" b="0"/>
          </a:p>
        </p:txBody>
      </p:sp>
      <p:sp>
        <p:nvSpPr>
          <p:cNvPr id="1046" name="Rectangle 51">
            <a:extLst>
              <a:ext uri="{FF2B5EF4-FFF2-40B4-BE49-F238E27FC236}">
                <a16:creationId xmlns:a16="http://schemas.microsoft.com/office/drawing/2014/main" id="{51D69E05-2F0C-12C1-6481-E1EA2B74C56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171767" y="274639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&amp;</a:t>
            </a:r>
            <a:endParaRPr lang="en-US" altLang="en-US" sz="900" b="0"/>
          </a:p>
        </p:txBody>
      </p:sp>
      <p:sp>
        <p:nvSpPr>
          <p:cNvPr id="1047" name="Rectangle 52">
            <a:extLst>
              <a:ext uri="{FF2B5EF4-FFF2-40B4-BE49-F238E27FC236}">
                <a16:creationId xmlns:a16="http://schemas.microsoft.com/office/drawing/2014/main" id="{9FD8A50F-509E-91A4-739F-FC68C4B0FD0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13584" y="409576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D</a:t>
            </a:r>
            <a:endParaRPr lang="en-US" altLang="en-US" sz="900" b="0"/>
          </a:p>
        </p:txBody>
      </p:sp>
      <p:sp>
        <p:nvSpPr>
          <p:cNvPr id="1048" name="Rectangle 53">
            <a:extLst>
              <a:ext uri="{FF2B5EF4-FFF2-40B4-BE49-F238E27FC236}">
                <a16:creationId xmlns:a16="http://schemas.microsoft.com/office/drawing/2014/main" id="{E9F9BC0C-06CB-D98D-5812-A72BD05D034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61751" y="527050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S</a:t>
            </a:r>
            <a:endParaRPr lang="en-US" altLang="en-US" sz="900" b="0"/>
          </a:p>
        </p:txBody>
      </p:sp>
      <p:sp>
        <p:nvSpPr>
          <p:cNvPr id="1049" name="Rectangle 54">
            <a:extLst>
              <a:ext uri="{FF2B5EF4-FFF2-40B4-BE49-F238E27FC236}">
                <a16:creationId xmlns:a16="http://schemas.microsoft.com/office/drawing/2014/main" id="{835868D6-91BA-EC90-96AA-DAACBF87A4C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55301" y="566739"/>
            <a:ext cx="36548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i="1">
                <a:solidFill>
                  <a:srgbClr val="FFFFFF"/>
                </a:solidFill>
              </a:rPr>
              <a:t>1Team</a:t>
            </a:r>
            <a:endParaRPr lang="en-US" altLang="en-US" sz="900" b="0"/>
          </a:p>
        </p:txBody>
      </p:sp>
      <p:sp>
        <p:nvSpPr>
          <p:cNvPr id="1053" name="Text Box 64">
            <a:extLst>
              <a:ext uri="{FF2B5EF4-FFF2-40B4-BE49-F238E27FC236}">
                <a16:creationId xmlns:a16="http://schemas.microsoft.com/office/drawing/2014/main" id="{4054AC48-2D88-CF7C-FEF8-41453FB5B9B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" y="6154738"/>
            <a:ext cx="6015567" cy="214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US" altLang="en-US" sz="800" b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0F72087-9DE0-7CA3-40DD-7399ABB799BE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911197" y="6309418"/>
            <a:ext cx="969264" cy="455815"/>
          </a:xfrm>
          <a:prstGeom prst="rect">
            <a:avLst/>
          </a:prstGeom>
        </p:spPr>
      </p:pic>
      <p:sp>
        <p:nvSpPr>
          <p:cNvPr id="3" name="MSIPCMContentMarking" descr="{&quot;HashCode&quot;:1468442394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B0E2A63D-4C17-3982-A141-159E54C037B6}"/>
              </a:ext>
            </a:extLst>
          </p:cNvPr>
          <p:cNvSpPr txBox="1"/>
          <p:nvPr userDrawn="1"/>
        </p:nvSpPr>
        <p:spPr>
          <a:xfrm>
            <a:off x="0" y="0"/>
            <a:ext cx="1018019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solidFill>
                  <a:srgbClr val="00B294"/>
                </a:solidFill>
                <a:latin typeface="Calibri" panose="020F0502020204030204" pitchFamily="34" charset="0"/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369511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  <p:sldLayoutId id="2147483754" r:id="rId13"/>
    <p:sldLayoutId id="2147483755" r:id="rId14"/>
    <p:sldLayoutId id="2147483756" r:id="rId1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28600" indent="-2286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Font typeface="Wingdings" panose="05000000000000000000" pitchFamily="2" charset="2"/>
        <a:buChar char="v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2pPr>
      <a:lvl3pPr marL="800100" indent="-1143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•"/>
        <a:defRPr sz="1200">
          <a:solidFill>
            <a:schemeClr val="tx1"/>
          </a:solidFill>
          <a:latin typeface="+mn-lt"/>
          <a:cs typeface="+mn-cs"/>
        </a:defRPr>
      </a:lvl3pPr>
      <a:lvl4pPr marL="1092200" indent="-1778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–"/>
        <a:defRPr sz="1000">
          <a:solidFill>
            <a:schemeClr val="tx1"/>
          </a:solidFill>
          <a:latin typeface="+mn-lt"/>
          <a:cs typeface="+mn-cs"/>
        </a:defRPr>
      </a:lvl4pPr>
      <a:lvl5pPr marL="1371600" indent="-1651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»"/>
        <a:defRPr sz="1000">
          <a:solidFill>
            <a:schemeClr val="tx1"/>
          </a:solidFill>
          <a:latin typeface="+mn-lt"/>
          <a:cs typeface="+mn-cs"/>
        </a:defRPr>
      </a:lvl5pPr>
      <a:lvl6pPr marL="18288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000">
          <a:solidFill>
            <a:schemeClr val="tx1"/>
          </a:solidFill>
          <a:latin typeface="+mn-lt"/>
          <a:cs typeface="+mn-cs"/>
        </a:defRPr>
      </a:lvl6pPr>
      <a:lvl7pPr marL="22860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000">
          <a:solidFill>
            <a:schemeClr val="tx1"/>
          </a:solidFill>
          <a:latin typeface="+mn-lt"/>
          <a:cs typeface="+mn-cs"/>
        </a:defRPr>
      </a:lvl7pPr>
      <a:lvl8pPr marL="27432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000">
          <a:solidFill>
            <a:schemeClr val="tx1"/>
          </a:solidFill>
          <a:latin typeface="+mn-lt"/>
          <a:cs typeface="+mn-cs"/>
        </a:defRPr>
      </a:lvl8pPr>
      <a:lvl9pPr marL="32004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1.xml"/><Relationship Id="rId4" Type="http://schemas.openxmlformats.org/officeDocument/2006/relationships/image" Target="../media/image23.w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2.xml"/><Relationship Id="rId4" Type="http://schemas.openxmlformats.org/officeDocument/2006/relationships/image" Target="../media/image24.w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2.xml"/><Relationship Id="rId4" Type="http://schemas.openxmlformats.org/officeDocument/2006/relationships/image" Target="../media/image25.w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2.xml"/><Relationship Id="rId4" Type="http://schemas.openxmlformats.org/officeDocument/2006/relationships/image" Target="../media/image26.w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2.xml"/><Relationship Id="rId4" Type="http://schemas.openxmlformats.org/officeDocument/2006/relationships/image" Target="../media/image27.w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2.xml"/><Relationship Id="rId4" Type="http://schemas.openxmlformats.org/officeDocument/2006/relationships/image" Target="../media/image27.w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2.xml"/><Relationship Id="rId4" Type="http://schemas.openxmlformats.org/officeDocument/2006/relationships/image" Target="../media/image28.wmf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2.xml"/><Relationship Id="rId4" Type="http://schemas.openxmlformats.org/officeDocument/2006/relationships/image" Target="../media/image29.w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0.xml"/><Relationship Id="rId4" Type="http://schemas.openxmlformats.org/officeDocument/2006/relationships/image" Target="../media/image3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0.gsb.columbia.edu/mygsb/faculty/research/pubfiles/1079/Mizik_are_physicians_easy_marks.pdf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18.w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7.w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20.w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19.w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21.w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9.w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5A490D-8D17-414E-B881-9623CBCC1E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7824" y="2212848"/>
            <a:ext cx="11436351" cy="2020824"/>
          </a:xfrm>
        </p:spPr>
        <p:txBody>
          <a:bodyPr/>
          <a:lstStyle/>
          <a:p>
            <a:r>
              <a:rPr lang="en-GB" dirty="0"/>
              <a:t>8. Model Part 3</a:t>
            </a:r>
            <a:br>
              <a:rPr lang="en-GB" dirty="0"/>
            </a:b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284516526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Number Placeholder 3">
            <a:extLst>
              <a:ext uri="{FF2B5EF4-FFF2-40B4-BE49-F238E27FC236}">
                <a16:creationId xmlns:a16="http://schemas.microsoft.com/office/drawing/2014/main" id="{9B6C1387-9567-A7C7-579A-F510A65F8D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E2BDD9B8-E56D-4ED0-A8CE-4B57528D4742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0243" name="Rectangle 2">
            <a:extLst>
              <a:ext uri="{FF2B5EF4-FFF2-40B4-BE49-F238E27FC236}">
                <a16:creationId xmlns:a16="http://schemas.microsoft.com/office/drawing/2014/main" id="{0AB59D62-618F-AA16-D605-50DA78A392D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96764" y="206186"/>
            <a:ext cx="10785179" cy="695325"/>
          </a:xfrm>
        </p:spPr>
        <p:txBody>
          <a:bodyPr/>
          <a:lstStyle/>
          <a:p>
            <a:pPr eaLnBrk="1" hangingPunct="1"/>
            <a:r>
              <a:rPr lang="en-US" altLang="en-US" sz="2750" b="0" dirty="0">
                <a:latin typeface="Invention Light" panose="020B0403020008020204" pitchFamily="34" charset="0"/>
              </a:rPr>
              <a:t>Concepts – Randomized Experiments vs. nonexperimental studies</a:t>
            </a:r>
          </a:p>
        </p:txBody>
      </p:sp>
      <p:sp>
        <p:nvSpPr>
          <p:cNvPr id="10244" name="Rectangle 3">
            <a:extLst>
              <a:ext uri="{FF2B5EF4-FFF2-40B4-BE49-F238E27FC236}">
                <a16:creationId xmlns:a16="http://schemas.microsoft.com/office/drawing/2014/main" id="{903DEDF2-930C-B7B0-9CDC-88B3D11BCEE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01256" y="1350973"/>
            <a:ext cx="11281144" cy="5013252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Randomized experiments have major advantages over observational studies in making causal inferences. </a:t>
            </a:r>
          </a:p>
          <a:p>
            <a:pPr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Randomization ensures treatment groups, on average, are identical with respect to all possible characteristics of the subjects, regardless of whether they could be measured or not.</a:t>
            </a:r>
          </a:p>
          <a:p>
            <a:pPr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In nonexperimental studies, we try to approximate random experiment by statistically controlling for other variables using methods such as linear regression, matching etc., This has two major drawbacks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Its possible to leave out some crucial variables. Omission of a key covariate can lead to severe estimation bias for the variables that are included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Not all variables could be measured. Inaccuracies in measurement also causes estimation bias.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Number Placeholder 3">
            <a:extLst>
              <a:ext uri="{FF2B5EF4-FFF2-40B4-BE49-F238E27FC236}">
                <a16:creationId xmlns:a16="http://schemas.microsoft.com/office/drawing/2014/main" id="{9B6C1387-9567-A7C7-579A-F510A65F8D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E2BDD9B8-E56D-4ED0-A8CE-4B57528D4742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0243" name="Rectangle 2">
            <a:extLst>
              <a:ext uri="{FF2B5EF4-FFF2-40B4-BE49-F238E27FC236}">
                <a16:creationId xmlns:a16="http://schemas.microsoft.com/office/drawing/2014/main" id="{0AB59D62-618F-AA16-D605-50DA78A392D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69333" y="242762"/>
            <a:ext cx="11717867" cy="695325"/>
          </a:xfrm>
        </p:spPr>
        <p:txBody>
          <a:bodyPr/>
          <a:lstStyle/>
          <a:p>
            <a:pPr eaLnBrk="1" hangingPunct="1"/>
            <a:r>
              <a:rPr lang="en-US" altLang="en-US" sz="2750" b="0" dirty="0">
                <a:latin typeface="Invention Light" panose="020B0403020008020204" pitchFamily="34" charset="0"/>
              </a:rPr>
              <a:t>Concepts – Randomized Experiments vs. nonexperimental studies</a:t>
            </a:r>
          </a:p>
        </p:txBody>
      </p:sp>
      <p:sp>
        <p:nvSpPr>
          <p:cNvPr id="10244" name="Rectangle 3">
            <a:extLst>
              <a:ext uri="{FF2B5EF4-FFF2-40B4-BE49-F238E27FC236}">
                <a16:creationId xmlns:a16="http://schemas.microsoft.com/office/drawing/2014/main" id="{903DEDF2-930C-B7B0-9CDC-88B3D11BCEE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01256" y="1256986"/>
            <a:ext cx="11281144" cy="4821866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In practice, causal inference via statistical adjustment usually runs distant second to randomization. However, with certain kinds of nonexperimental data (ex: longitudinal repeated measures data) we can get much closer to the virtues of a randomized experiment.</a:t>
            </a:r>
          </a:p>
          <a:p>
            <a:pPr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Specifically, by using fixed effects method discussed in the reference, it is possible to control for all possible time-invariant characteristics of the individuals in the study (measured or not).</a:t>
            </a:r>
          </a:p>
        </p:txBody>
      </p:sp>
    </p:spTree>
    <p:extLst>
      <p:ext uri="{BB962C8B-B14F-4D97-AF65-F5344CB8AC3E}">
        <p14:creationId xmlns:p14="http://schemas.microsoft.com/office/powerpoint/2010/main" val="16605769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Number Placeholder 4">
            <a:extLst>
              <a:ext uri="{FF2B5EF4-FFF2-40B4-BE49-F238E27FC236}">
                <a16:creationId xmlns:a16="http://schemas.microsoft.com/office/drawing/2014/main" id="{C31C4456-52C8-7637-F11B-023D2B6345F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46E7A297-C727-4A1A-99D4-ABC9CEDC6C34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1267" name="Rectangle 2">
            <a:extLst>
              <a:ext uri="{FF2B5EF4-FFF2-40B4-BE49-F238E27FC236}">
                <a16:creationId xmlns:a16="http://schemas.microsoft.com/office/drawing/2014/main" id="{975349F3-F835-CC61-32C1-68EC9882804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96765" y="178754"/>
            <a:ext cx="9448800" cy="695325"/>
          </a:xfrm>
        </p:spPr>
        <p:txBody>
          <a:bodyPr/>
          <a:lstStyle/>
          <a:p>
            <a:pPr eaLnBrk="1" hangingPunct="1"/>
            <a:r>
              <a:rPr lang="en-US" altLang="en-US" sz="2750" b="0" dirty="0">
                <a:latin typeface="Invention Light" panose="020B0403020008020204" pitchFamily="34" charset="0"/>
              </a:rPr>
              <a:t>Concepts – Fixed Effects Methods</a:t>
            </a:r>
          </a:p>
        </p:txBody>
      </p:sp>
      <p:sp>
        <p:nvSpPr>
          <p:cNvPr id="11268" name="Rectangle 3">
            <a:extLst>
              <a:ext uri="{FF2B5EF4-FFF2-40B4-BE49-F238E27FC236}">
                <a16:creationId xmlns:a16="http://schemas.microsoft.com/office/drawing/2014/main" id="{BD18FE48-ED73-47A9-527C-A9C371D9D112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297499" y="1084263"/>
            <a:ext cx="11461898" cy="5468937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In essence, each individual serves as his or her own control in FE methods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This is accomplished by making comparisons within individuals and then averaging those differences across all individuals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Major attraction in nonexperimental data is the ability to control for all stable characteristics of the individuals in the study, thereby eliminating potentially large sources of bias.</a:t>
            </a:r>
          </a:p>
          <a:p>
            <a:pPr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Example: Paired-Comparison t-test.</a:t>
            </a:r>
          </a:p>
          <a:p>
            <a:pPr lvl="1" eaLnBrk="1" hangingPunct="1">
              <a:spcBef>
                <a:spcPct val="50000"/>
              </a:spcBef>
              <a:buFont typeface="Arial" panose="020B0604020202020204" pitchFamily="34" charset="0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spcBef>
                <a:spcPct val="50000"/>
              </a:spcBef>
              <a:buFont typeface="Arial" panose="020B0604020202020204" pitchFamily="34" charset="0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spcBef>
                <a:spcPct val="50000"/>
              </a:spcBef>
              <a:buFont typeface="Arial" panose="020B0604020202020204" pitchFamily="34" charset="0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</p:txBody>
      </p:sp>
      <p:graphicFrame>
        <p:nvGraphicFramePr>
          <p:cNvPr id="11269" name="Object 4">
            <a:extLst>
              <a:ext uri="{FF2B5EF4-FFF2-40B4-BE49-F238E27FC236}">
                <a16:creationId xmlns:a16="http://schemas.microsoft.com/office/drawing/2014/main" id="{72BAD991-7382-1A45-F2E6-4442D14575DF}"/>
              </a:ext>
            </a:extLst>
          </p:cNvPr>
          <p:cNvGraphicFramePr>
            <a:graphicFrameLocks noGrp="1" noChangeAspect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684610916"/>
              </p:ext>
            </p:extLst>
          </p:nvPr>
        </p:nvGraphicFramePr>
        <p:xfrm>
          <a:off x="3354695" y="3914270"/>
          <a:ext cx="4191000" cy="790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2425700" imgH="457200" progId="Equation.3">
                  <p:embed/>
                </p:oleObj>
              </mc:Choice>
              <mc:Fallback>
                <p:oleObj name="Equation" r:id="rId3" imgW="2425700" imgH="457200" progId="Equation.3">
                  <p:embed/>
                  <p:pic>
                    <p:nvPicPr>
                      <p:cNvPr id="11269" name="Object 4">
                        <a:extLst>
                          <a:ext uri="{FF2B5EF4-FFF2-40B4-BE49-F238E27FC236}">
                            <a16:creationId xmlns:a16="http://schemas.microsoft.com/office/drawing/2014/main" id="{72BAD991-7382-1A45-F2E6-4442D14575D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54695" y="3914270"/>
                        <a:ext cx="4191000" cy="790575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Number Placeholder 4">
            <a:extLst>
              <a:ext uri="{FF2B5EF4-FFF2-40B4-BE49-F238E27FC236}">
                <a16:creationId xmlns:a16="http://schemas.microsoft.com/office/drawing/2014/main" id="{C31C4456-52C8-7637-F11B-023D2B6345F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46E7A297-C727-4A1A-99D4-ABC9CEDC6C34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1267" name="Rectangle 2">
            <a:extLst>
              <a:ext uri="{FF2B5EF4-FFF2-40B4-BE49-F238E27FC236}">
                <a16:creationId xmlns:a16="http://schemas.microsoft.com/office/drawing/2014/main" id="{975349F3-F835-CC61-32C1-68EC9882804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4197" y="225552"/>
            <a:ext cx="9448800" cy="695325"/>
          </a:xfrm>
        </p:spPr>
        <p:txBody>
          <a:bodyPr/>
          <a:lstStyle/>
          <a:p>
            <a:pPr eaLnBrk="1" hangingPunct="1"/>
            <a:r>
              <a:rPr lang="en-US" altLang="en-US" sz="2750" b="0" dirty="0">
                <a:latin typeface="Invention Light" panose="020B0403020008020204" pitchFamily="34" charset="0"/>
              </a:rPr>
              <a:t>Concepts – Fixed Effects Methods</a:t>
            </a:r>
          </a:p>
        </p:txBody>
      </p:sp>
      <p:sp>
        <p:nvSpPr>
          <p:cNvPr id="11268" name="Rectangle 3">
            <a:extLst>
              <a:ext uri="{FF2B5EF4-FFF2-40B4-BE49-F238E27FC236}">
                <a16:creationId xmlns:a16="http://schemas.microsoft.com/office/drawing/2014/main" id="{BD18FE48-ED73-47A9-527C-A9C371D9D112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224197" y="1163511"/>
            <a:ext cx="11461898" cy="5468937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Fixed effects methods ignores between-person variation and focuses only on within-person variation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Disadvantage: Discarding between-person variation can yield standard errors that are considerably higher than those methods that use both within- and between-person variation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Advantage: Between-person variation is very likely to be contaminated by unmeasured personal characteristics that are correlated with dependent and/or other independent variables. By restricting ourselves to within-person variation, we eliminate that contamination and are much more likely to get unbiased estimates.</a:t>
            </a:r>
          </a:p>
          <a:p>
            <a:pPr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We are dealing with the trade-off between bias and sampling variability. For nonexperimental data, fixed effects methods tend to reduce bias at the expense of greater sampling variability.</a:t>
            </a:r>
          </a:p>
          <a:p>
            <a:pPr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Fixed effect methods do not provide an estimate for time-invariant variables. Interactions between time-invariant and time-variant vars could be estimated.</a:t>
            </a:r>
          </a:p>
        </p:txBody>
      </p:sp>
    </p:spTree>
    <p:extLst>
      <p:ext uri="{BB962C8B-B14F-4D97-AF65-F5344CB8AC3E}">
        <p14:creationId xmlns:p14="http://schemas.microsoft.com/office/powerpoint/2010/main" val="1443448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4">
            <a:extLst>
              <a:ext uri="{FF2B5EF4-FFF2-40B4-BE49-F238E27FC236}">
                <a16:creationId xmlns:a16="http://schemas.microsoft.com/office/drawing/2014/main" id="{34C6A778-AE66-3738-082B-BAB88BD3151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99E8A480-7E60-40EE-A13A-8A392FEB9EE6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2291" name="Rectangle 2">
            <a:extLst>
              <a:ext uri="{FF2B5EF4-FFF2-40B4-BE49-F238E27FC236}">
                <a16:creationId xmlns:a16="http://schemas.microsoft.com/office/drawing/2014/main" id="{750DCA5F-16F1-2E8D-1C8C-C2CBD62F9D4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87621" y="206186"/>
            <a:ext cx="9448800" cy="695325"/>
          </a:xfrm>
        </p:spPr>
        <p:txBody>
          <a:bodyPr/>
          <a:lstStyle/>
          <a:p>
            <a:pPr eaLnBrk="1" hangingPunct="1"/>
            <a:r>
              <a:rPr lang="en-US" altLang="en-US" sz="2750" b="0" dirty="0">
                <a:latin typeface="Invention Light" panose="020B0403020008020204" pitchFamily="34" charset="0"/>
              </a:rPr>
              <a:t>Concepts – Fixed Effects Methods (cont’d)</a:t>
            </a:r>
          </a:p>
        </p:txBody>
      </p:sp>
      <p:sp>
        <p:nvSpPr>
          <p:cNvPr id="12292" name="Rectangle 3">
            <a:extLst>
              <a:ext uri="{FF2B5EF4-FFF2-40B4-BE49-F238E27FC236}">
                <a16:creationId xmlns:a16="http://schemas.microsoft.com/office/drawing/2014/main" id="{74D160FA-009D-87C2-22AE-86CF80F70B9C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292395" y="1316736"/>
            <a:ext cx="11061405" cy="4800600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Random effects methods do not control for unmeasured, stable characteristics of the individuals. This is because </a:t>
            </a:r>
            <a:r>
              <a:rPr lang="el-GR" altLang="en-US" sz="1800" dirty="0"/>
              <a:t>α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altLang="en-US" sz="1800" dirty="0">
                <a:latin typeface="Invention" panose="020B0503020008020204" pitchFamily="34" charset="0"/>
              </a:rPr>
              <a:t> terms are usually assumed to have a distribution that is uncorrelated with the measured variables in the model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They use both within and between individual variations and typically have less sampling variability than fixed effects methods.</a:t>
            </a:r>
          </a:p>
          <a:p>
            <a:pPr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DECISION to use Fixed or Random Effects methods depends on: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Is it important to control for unmeasured characteristics of individuals to reduce bias in the estimates of interest? (use FE Methods)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Is it important to estimate the effects of stable covariates? (use RE or Hybrid Methods)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Whether one can tolerate the substantial loss of information that comes from discarding the between-individual variation (cannot tolerate </a:t>
            </a:r>
            <a:r>
              <a:rPr lang="en-US" altLang="en-US" sz="1800" dirty="0">
                <a:latin typeface="Invention" panose="020B0503020008020204" pitchFamily="34" charset="0"/>
                <a:sym typeface="Wingdings" panose="05000000000000000000" pitchFamily="2" charset="2"/>
              </a:rPr>
              <a:t> use RE methods)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4">
            <a:extLst>
              <a:ext uri="{FF2B5EF4-FFF2-40B4-BE49-F238E27FC236}">
                <a16:creationId xmlns:a16="http://schemas.microsoft.com/office/drawing/2014/main" id="{34C6A778-AE66-3738-082B-BAB88BD3151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99E8A480-7E60-40EE-A13A-8A392FEB9EE6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2291" name="Rectangle 2">
            <a:extLst>
              <a:ext uri="{FF2B5EF4-FFF2-40B4-BE49-F238E27FC236}">
                <a16:creationId xmlns:a16="http://schemas.microsoft.com/office/drawing/2014/main" id="{750DCA5F-16F1-2E8D-1C8C-C2CBD62F9D4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15053" y="206186"/>
            <a:ext cx="9448800" cy="695325"/>
          </a:xfrm>
        </p:spPr>
        <p:txBody>
          <a:bodyPr/>
          <a:lstStyle/>
          <a:p>
            <a:pPr eaLnBrk="1" hangingPunct="1"/>
            <a:r>
              <a:rPr lang="en-US" altLang="en-US" sz="2750" b="0" dirty="0">
                <a:latin typeface="Invention Light" panose="020B0403020008020204" pitchFamily="34" charset="0"/>
              </a:rPr>
              <a:t>Concepts – Fixed Effects Methods (cont’d)</a:t>
            </a:r>
          </a:p>
        </p:txBody>
      </p:sp>
      <p:sp>
        <p:nvSpPr>
          <p:cNvPr id="12292" name="Rectangle 3">
            <a:extLst>
              <a:ext uri="{FF2B5EF4-FFF2-40B4-BE49-F238E27FC236}">
                <a16:creationId xmlns:a16="http://schemas.microsoft.com/office/drawing/2014/main" id="{74D160FA-009D-87C2-22AE-86CF80F70B9C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283251" y="1627418"/>
            <a:ext cx="11061405" cy="4279605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WHY did we use this exploration for Nasonex DTC study?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Mainly to understand and reduce the biasness of various parameter estimates of interest (particularly, TV DTC promotions)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To see if our data supports using FE methods and still achieve reasonable significance levels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Compare how the biasness varies for various model structures (with an aim to find relatively appropriate structures) </a:t>
            </a:r>
          </a:p>
          <a:p>
            <a:pPr lvl="1"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86003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5">
            <a:extLst>
              <a:ext uri="{FF2B5EF4-FFF2-40B4-BE49-F238E27FC236}">
                <a16:creationId xmlns:a16="http://schemas.microsoft.com/office/drawing/2014/main" id="{5AC89631-0154-6594-DB11-C81A85361EB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3B6ADAB8-44D0-4674-B5E3-0D6D6DBEA99E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3315" name="Rectangle 2">
            <a:extLst>
              <a:ext uri="{FF2B5EF4-FFF2-40B4-BE49-F238E27FC236}">
                <a16:creationId xmlns:a16="http://schemas.microsoft.com/office/drawing/2014/main" id="{1D7FCD76-FEBE-2A81-E37A-EFCAA389F8B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05909" y="146255"/>
            <a:ext cx="9448800" cy="695325"/>
          </a:xfrm>
        </p:spPr>
        <p:txBody>
          <a:bodyPr/>
          <a:lstStyle/>
          <a:p>
            <a:pPr eaLnBrk="1" hangingPunct="1"/>
            <a:r>
              <a:rPr lang="en-US" altLang="en-US" sz="2750" b="0" dirty="0">
                <a:latin typeface="Invention Light" panose="020B0403020008020204" pitchFamily="34" charset="0"/>
              </a:rPr>
              <a:t>OLS / RE / FE Methods Exploration - 1</a:t>
            </a:r>
          </a:p>
        </p:txBody>
      </p:sp>
      <p:sp>
        <p:nvSpPr>
          <p:cNvPr id="13316" name="Rectangle 3">
            <a:extLst>
              <a:ext uri="{FF2B5EF4-FFF2-40B4-BE49-F238E27FC236}">
                <a16:creationId xmlns:a16="http://schemas.microsoft.com/office/drawing/2014/main" id="{4907E435-C34E-A2C8-8356-4DECCCE3C983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349102" y="1051498"/>
            <a:ext cx="11493795" cy="5221287"/>
          </a:xfrm>
        </p:spPr>
        <p:txBody>
          <a:bodyPr/>
          <a:lstStyle/>
          <a:p>
            <a:pPr eaLnBrk="1" hangingPunct="1">
              <a:lnSpc>
                <a:spcPct val="90000"/>
              </a:lnSpc>
              <a:spcBef>
                <a:spcPct val="50000"/>
              </a:spcBef>
              <a:buFont typeface="Wingdings" panose="05000000000000000000" pitchFamily="2" charset="2"/>
              <a:buNone/>
            </a:pPr>
            <a:r>
              <a:rPr lang="en-US" altLang="en-US" sz="1800" b="1" dirty="0">
                <a:latin typeface="Invention" panose="020B0503020008020204" pitchFamily="34" charset="0"/>
              </a:rPr>
              <a:t>Basic Model</a:t>
            </a:r>
          </a:p>
          <a:p>
            <a:pPr lvl="1" eaLnBrk="1" hangingPunct="1">
              <a:lnSpc>
                <a:spcPct val="90000"/>
              </a:lnSpc>
              <a:spcBef>
                <a:spcPct val="10000"/>
              </a:spcBef>
              <a:buFont typeface="Arial" panose="020B0604020202020204" pitchFamily="34" charset="0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10000"/>
              </a:spcBef>
              <a:buFont typeface="Arial" panose="020B0604020202020204" pitchFamily="34" charset="0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10000"/>
              </a:spcBef>
              <a:buFont typeface="Arial" panose="020B0604020202020204" pitchFamily="34" charset="0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10000"/>
              </a:spcBef>
              <a:buFont typeface="Arial" panose="020B0604020202020204" pitchFamily="34" charset="0"/>
              <a:buNone/>
            </a:pPr>
            <a:r>
              <a:rPr lang="en-US" altLang="en-US" sz="1800" dirty="0" err="1">
                <a:latin typeface="Invention" panose="020B0503020008020204" pitchFamily="34" charset="0"/>
              </a:rPr>
              <a:t>Y</a:t>
            </a:r>
            <a:r>
              <a:rPr lang="en-US" altLang="en-US" sz="1800" baseline="-25000" dirty="0" err="1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t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, </a:t>
            </a:r>
            <a:r>
              <a:rPr lang="en-US" altLang="en-US" sz="1800" dirty="0" err="1">
                <a:latin typeface="Invention" panose="020B0503020008020204" pitchFamily="34" charset="0"/>
              </a:rPr>
              <a:t>X</a:t>
            </a:r>
            <a:r>
              <a:rPr lang="en-US" altLang="en-US" sz="1800" baseline="-25000" dirty="0" err="1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t</a:t>
            </a:r>
            <a:r>
              <a:rPr lang="en-US" altLang="en-US" sz="1800" dirty="0">
                <a:latin typeface="Invention" panose="020B0503020008020204" pitchFamily="34" charset="0"/>
              </a:rPr>
              <a:t> is response and time variant variables for individual i and time t. Z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altLang="en-US" sz="1800" dirty="0">
                <a:latin typeface="Invention" panose="020B0503020008020204" pitchFamily="34" charset="0"/>
              </a:rPr>
              <a:t> time-invariant variables in the model</a:t>
            </a:r>
          </a:p>
          <a:p>
            <a:pPr lvl="1" eaLnBrk="1" hangingPunct="1">
              <a:lnSpc>
                <a:spcPct val="90000"/>
              </a:lnSpc>
              <a:spcBef>
                <a:spcPct val="10000"/>
              </a:spcBef>
              <a:buFont typeface="Arial" panose="020B0604020202020204" pitchFamily="34" charset="0"/>
              <a:buNone/>
            </a:pPr>
            <a:r>
              <a:rPr lang="el-GR" altLang="en-US" sz="1800" dirty="0"/>
              <a:t>ε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t</a:t>
            </a:r>
            <a:r>
              <a:rPr lang="en-US" altLang="en-US" sz="18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is random error with mean 0 and constant variance, uncorrelated with x and z. </a:t>
            </a:r>
            <a:r>
              <a:rPr lang="el-GR" altLang="en-US" sz="1800" dirty="0"/>
              <a:t>β</a:t>
            </a:r>
            <a:r>
              <a:rPr lang="en-US" altLang="en-US" sz="1800" dirty="0">
                <a:latin typeface="Invention" panose="020B0503020008020204" pitchFamily="34" charset="0"/>
              </a:rPr>
              <a:t>, </a:t>
            </a:r>
            <a:r>
              <a:rPr lang="el-GR" altLang="en-US" sz="1800" dirty="0"/>
              <a:t>γ</a:t>
            </a:r>
            <a:r>
              <a:rPr lang="en-US" altLang="en-US" sz="1800" dirty="0">
                <a:latin typeface="Invention" panose="020B0503020008020204" pitchFamily="34" charset="0"/>
              </a:rPr>
              <a:t> parameter estimates. Different intercepts at each time point, coefficients are same across times.</a:t>
            </a:r>
            <a:endParaRPr lang="el-GR" altLang="en-US" sz="1800" dirty="0"/>
          </a:p>
          <a:p>
            <a:pPr eaLnBrk="1" hangingPunct="1">
              <a:lnSpc>
                <a:spcPct val="90000"/>
              </a:lnSpc>
              <a:spcBef>
                <a:spcPct val="50000"/>
              </a:spcBef>
            </a:pPr>
            <a:endParaRPr lang="en-US" altLang="en-US" sz="1800" b="1" dirty="0">
              <a:latin typeface="Invention" panose="020B0503020008020204" pitchFamily="34" charset="0"/>
            </a:endParaRPr>
          </a:p>
          <a:p>
            <a:pPr eaLnBrk="1" hangingPunct="1">
              <a:lnSpc>
                <a:spcPct val="90000"/>
              </a:lnSpc>
              <a:spcBef>
                <a:spcPct val="50000"/>
              </a:spcBef>
            </a:pPr>
            <a:endParaRPr lang="en-US" altLang="en-US" sz="1800" b="1" dirty="0">
              <a:latin typeface="Invention" panose="020B0503020008020204" pitchFamily="34" charset="0"/>
            </a:endParaRPr>
          </a:p>
          <a:p>
            <a:pPr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en-US" sz="1800" b="1" dirty="0">
                <a:latin typeface="Invention" panose="020B0503020008020204" pitchFamily="34" charset="0"/>
              </a:rPr>
              <a:t>OLS (PROC REG):</a:t>
            </a:r>
          </a:p>
          <a:p>
            <a:pPr lvl="1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Coefficients will be unbiased but NOT efficient (true standard errors will be larger than necessary)</a:t>
            </a:r>
          </a:p>
          <a:p>
            <a:pPr lvl="1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Estimated standard errors and p values will be too low because error covariance across time ≠ 0.</a:t>
            </a:r>
          </a:p>
        </p:txBody>
      </p:sp>
      <p:graphicFrame>
        <p:nvGraphicFramePr>
          <p:cNvPr id="13317" name="Object 4">
            <a:extLst>
              <a:ext uri="{FF2B5EF4-FFF2-40B4-BE49-F238E27FC236}">
                <a16:creationId xmlns:a16="http://schemas.microsoft.com/office/drawing/2014/main" id="{57B695E2-B291-425A-D63F-11EFFEF90AA8}"/>
              </a:ext>
            </a:extLst>
          </p:cNvPr>
          <p:cNvGraphicFramePr>
            <a:graphicFrameLocks noGrp="1" noChangeAspect="1"/>
          </p:cNvGraphicFramePr>
          <p:nvPr>
            <p:ph sz="quarter" idx="2"/>
            <p:extLst>
              <p:ext uri="{D42A27DB-BD31-4B8C-83A1-F6EECF244321}">
                <p14:modId xmlns:p14="http://schemas.microsoft.com/office/powerpoint/2010/main" val="289371399"/>
              </p:ext>
            </p:extLst>
          </p:nvPr>
        </p:nvGraphicFramePr>
        <p:xfrm>
          <a:off x="3937752" y="1279309"/>
          <a:ext cx="3921181" cy="6303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1422400" imgH="228600" progId="Equation.3">
                  <p:embed/>
                </p:oleObj>
              </mc:Choice>
              <mc:Fallback>
                <p:oleObj name="Equation" r:id="rId3" imgW="1422400" imgH="228600" progId="Equation.3">
                  <p:embed/>
                  <p:pic>
                    <p:nvPicPr>
                      <p:cNvPr id="13317" name="Object 4">
                        <a:extLst>
                          <a:ext uri="{FF2B5EF4-FFF2-40B4-BE49-F238E27FC236}">
                            <a16:creationId xmlns:a16="http://schemas.microsoft.com/office/drawing/2014/main" id="{57B695E2-B291-425A-D63F-11EFFEF90AA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37752" y="1279309"/>
                        <a:ext cx="3921181" cy="630312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5">
            <a:extLst>
              <a:ext uri="{FF2B5EF4-FFF2-40B4-BE49-F238E27FC236}">
                <a16:creationId xmlns:a16="http://schemas.microsoft.com/office/drawing/2014/main" id="{5AC89631-0154-6594-DB11-C81A85361EB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3B6ADAB8-44D0-4674-B5E3-0D6D6DBEA99E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3315" name="Rectangle 2">
            <a:extLst>
              <a:ext uri="{FF2B5EF4-FFF2-40B4-BE49-F238E27FC236}">
                <a16:creationId xmlns:a16="http://schemas.microsoft.com/office/drawing/2014/main" id="{1D7FCD76-FEBE-2A81-E37A-EFCAA389F8B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69333" y="222252"/>
            <a:ext cx="9448800" cy="695325"/>
          </a:xfrm>
        </p:spPr>
        <p:txBody>
          <a:bodyPr/>
          <a:lstStyle/>
          <a:p>
            <a:pPr eaLnBrk="1" hangingPunct="1"/>
            <a:r>
              <a:rPr lang="en-US" altLang="en-US" sz="2750" b="0" dirty="0">
                <a:latin typeface="Invention Light" panose="020B0403020008020204" pitchFamily="34" charset="0"/>
              </a:rPr>
              <a:t>OLS / RE / FE Methods Exploration - 1</a:t>
            </a:r>
          </a:p>
        </p:txBody>
      </p:sp>
      <p:sp>
        <p:nvSpPr>
          <p:cNvPr id="13316" name="Rectangle 3">
            <a:extLst>
              <a:ext uri="{FF2B5EF4-FFF2-40B4-BE49-F238E27FC236}">
                <a16:creationId xmlns:a16="http://schemas.microsoft.com/office/drawing/2014/main" id="{4907E435-C34E-A2C8-8356-4DECCCE3C983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304800" y="1058570"/>
            <a:ext cx="11493795" cy="5221287"/>
          </a:xfrm>
        </p:spPr>
        <p:txBody>
          <a:bodyPr/>
          <a:lstStyle/>
          <a:p>
            <a:pPr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US" altLang="en-US" sz="1800" b="1" dirty="0">
                <a:latin typeface="Invention" panose="020B0503020008020204" pitchFamily="34" charset="0"/>
              </a:rPr>
              <a:t>Solution 1 - Robust Standard Errors (PROC GENMOD):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lang="en-US" altLang="en-US" sz="1800" dirty="0">
                <a:latin typeface="Invention" panose="020B0503020008020204" pitchFamily="34" charset="0"/>
              </a:rPr>
              <a:t>	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lang="en-US" altLang="en-US" sz="1800" dirty="0">
                <a:latin typeface="Invention" panose="020B0503020008020204" pitchFamily="34" charset="0"/>
              </a:rPr>
              <a:t>The matrix V cap contains variances of the 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lang="en-US" altLang="en-US" sz="1800" dirty="0">
                <a:latin typeface="Invention" panose="020B0503020008020204" pitchFamily="34" charset="0"/>
              </a:rPr>
              <a:t>coefficients on the main diagonal and between 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lang="en-US" altLang="en-US" sz="1800" dirty="0">
                <a:latin typeface="Invention" panose="020B0503020008020204" pitchFamily="34" charset="0"/>
              </a:rPr>
              <a:t>coefficients off the diagonal.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lang="en-US" altLang="en-US" sz="1800" dirty="0">
                <a:latin typeface="Invention" panose="020B0503020008020204" pitchFamily="34" charset="0"/>
              </a:rPr>
              <a:t>    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lang="en-US" altLang="en-US" sz="1800" dirty="0">
                <a:latin typeface="Invention" panose="020B0503020008020204" pitchFamily="34" charset="0"/>
              </a:rPr>
              <a:t>The robust standard errors are the roots of the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lang="en-US" altLang="en-US" sz="1800" dirty="0">
                <a:latin typeface="Invention" panose="020B0503020008020204" pitchFamily="34" charset="0"/>
              </a:rPr>
              <a:t>main diagonal elements. </a:t>
            </a: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Although coefficients are same as OLS,</a:t>
            </a: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latin typeface="Invention" panose="020B0503020008020204" pitchFamily="34" charset="0"/>
              </a:rPr>
              <a:t>Robust standard errors are larger for vars </a:t>
            </a: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latin typeface="Invention" panose="020B0503020008020204" pitchFamily="34" charset="0"/>
              </a:rPr>
              <a:t>with higher between individual variances.</a:t>
            </a: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  <a:buNone/>
            </a:pPr>
            <a:endParaRPr lang="en-US" altLang="en-US" sz="1800" dirty="0">
              <a:latin typeface="Invention" panose="020B0503020008020204" pitchFamily="34" charset="0"/>
              <a:ea typeface="Arial Unicode MS" panose="020B0604020202020204" pitchFamily="34" charset="-128"/>
            </a:endParaRP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PROC GENMOD DATA=</a:t>
            </a:r>
            <a:r>
              <a:rPr lang="en-US" altLang="en-US" sz="1800" dirty="0" err="1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abc</a:t>
            </a: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;</a:t>
            </a: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CLASS </a:t>
            </a:r>
            <a:r>
              <a:rPr lang="en-US" altLang="en-US" sz="1800" dirty="0" err="1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dma</a:t>
            </a: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altLang="en-US" sz="1800" dirty="0" err="1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yearmo</a:t>
            </a: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;</a:t>
            </a: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MODEL y = x1 x2 x3 z1 z2 z3;</a:t>
            </a: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REPEATED SUBJECT=</a:t>
            </a:r>
            <a:r>
              <a:rPr lang="en-US" altLang="en-US" sz="1800" dirty="0" err="1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dma</a:t>
            </a: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/ TYPE = IND;</a:t>
            </a: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</p:txBody>
      </p:sp>
      <p:graphicFrame>
        <p:nvGraphicFramePr>
          <p:cNvPr id="13318" name="Object 9">
            <a:extLst>
              <a:ext uri="{FF2B5EF4-FFF2-40B4-BE49-F238E27FC236}">
                <a16:creationId xmlns:a16="http://schemas.microsoft.com/office/drawing/2014/main" id="{F78E386D-B2DE-C487-829B-A03843AD98A6}"/>
              </a:ext>
            </a:extLst>
          </p:cNvPr>
          <p:cNvGraphicFramePr>
            <a:graphicFrameLocks noGrp="1" noChangeAspect="1"/>
          </p:cNvGraphicFramePr>
          <p:nvPr>
            <p:ph sz="quarter" idx="3"/>
            <p:extLst>
              <p:ext uri="{D42A27DB-BD31-4B8C-83A1-F6EECF244321}">
                <p14:modId xmlns:p14="http://schemas.microsoft.com/office/powerpoint/2010/main" val="3748836070"/>
              </p:ext>
            </p:extLst>
          </p:nvPr>
        </p:nvGraphicFramePr>
        <p:xfrm>
          <a:off x="6096000" y="1645544"/>
          <a:ext cx="5302116" cy="22931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2819400" imgH="1219200" progId="Equation.3">
                  <p:embed/>
                </p:oleObj>
              </mc:Choice>
              <mc:Fallback>
                <p:oleObj name="Equation" r:id="rId3" imgW="2819400" imgH="1219200" progId="Equation.3">
                  <p:embed/>
                  <p:pic>
                    <p:nvPicPr>
                      <p:cNvPr id="13318" name="Object 9">
                        <a:extLst>
                          <a:ext uri="{FF2B5EF4-FFF2-40B4-BE49-F238E27FC236}">
                            <a16:creationId xmlns:a16="http://schemas.microsoft.com/office/drawing/2014/main" id="{F78E386D-B2DE-C487-829B-A03843AD98A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96000" y="1645544"/>
                        <a:ext cx="5302116" cy="2293179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184339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Number Placeholder 5">
            <a:extLst>
              <a:ext uri="{FF2B5EF4-FFF2-40B4-BE49-F238E27FC236}">
                <a16:creationId xmlns:a16="http://schemas.microsoft.com/office/drawing/2014/main" id="{62157CAE-1867-EFF5-6FCD-B41EA2F20F0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8D051178-3285-4725-BC8E-19AFA42C4C2F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4339" name="Rectangle 2">
            <a:extLst>
              <a:ext uri="{FF2B5EF4-FFF2-40B4-BE49-F238E27FC236}">
                <a16:creationId xmlns:a16="http://schemas.microsoft.com/office/drawing/2014/main" id="{1C3083B4-12B4-20D7-DEB3-C1150ED5724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69333" y="222252"/>
            <a:ext cx="9448800" cy="695325"/>
          </a:xfrm>
        </p:spPr>
        <p:txBody>
          <a:bodyPr/>
          <a:lstStyle/>
          <a:p>
            <a:pPr eaLnBrk="1" hangingPunct="1"/>
            <a:r>
              <a:rPr lang="en-US" altLang="en-US" sz="2750" b="0" dirty="0">
                <a:latin typeface="Invention Light" panose="020B0403020008020204" pitchFamily="34" charset="0"/>
              </a:rPr>
              <a:t>OLS / RE / FE Methods Exploration - 2</a:t>
            </a:r>
          </a:p>
        </p:txBody>
      </p:sp>
      <p:sp>
        <p:nvSpPr>
          <p:cNvPr id="14340" name="Rectangle 3">
            <a:extLst>
              <a:ext uri="{FF2B5EF4-FFF2-40B4-BE49-F238E27FC236}">
                <a16:creationId xmlns:a16="http://schemas.microsoft.com/office/drawing/2014/main" id="{69B83D9C-6738-D02A-B08C-35D47B117849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169333" y="950914"/>
            <a:ext cx="11887988" cy="5221287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en-US" sz="1800" b="1" dirty="0">
                <a:latin typeface="Invention" panose="020B0503020008020204" pitchFamily="34" charset="0"/>
              </a:rPr>
              <a:t>Solution 2: Generalized Estimating Equations (GEE) :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It produces EFFICIENT estimates of the coefficients (i.e., true standard errors will be optimally small). GEE does this by taking the over-time correlations into account when producing the estimates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GLS estimates are obtained by the formula: 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Omega cap is not included in OLS estimates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Omega cap is typically block diagonal and user specified (UN, AR, EXCH, MDEP(m) etc.,)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GEE estimates are accompanied by robust standard error estimates in GENMOD 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GEE with EXCH structure is technically same as Random Intercepts model.</a:t>
            </a:r>
          </a:p>
          <a:p>
            <a:pPr lvl="1" eaLnBrk="1" hangingPunct="1">
              <a:spcBef>
                <a:spcPct val="50000"/>
              </a:spcBef>
              <a:buFont typeface="Arial" panose="020B0604020202020204" pitchFamily="34" charset="0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PROC GENMOD DATA=</a:t>
            </a:r>
            <a:r>
              <a:rPr lang="en-US" altLang="en-US" sz="1800" dirty="0" err="1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abc</a:t>
            </a: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CLASS </a:t>
            </a:r>
            <a:r>
              <a:rPr lang="en-US" altLang="en-US" sz="1800" dirty="0" err="1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dma</a:t>
            </a: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altLang="en-US" sz="1800" dirty="0" err="1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yearmo</a:t>
            </a: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MODEL y = x1 x2 x3 z1 z2 z3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REPEATED SUBJECT=</a:t>
            </a:r>
            <a:r>
              <a:rPr lang="en-US" altLang="en-US" sz="1800" dirty="0" err="1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dma</a:t>
            </a: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/ TYPE = UN CORRW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</p:txBody>
      </p:sp>
      <p:graphicFrame>
        <p:nvGraphicFramePr>
          <p:cNvPr id="14341" name="Object 4">
            <a:extLst>
              <a:ext uri="{FF2B5EF4-FFF2-40B4-BE49-F238E27FC236}">
                <a16:creationId xmlns:a16="http://schemas.microsoft.com/office/drawing/2014/main" id="{1D2CA7A6-B208-F8D4-E5B9-66A0C087C84E}"/>
              </a:ext>
            </a:extLst>
          </p:cNvPr>
          <p:cNvGraphicFramePr>
            <a:graphicFrameLocks noGrp="1" noChangeAspect="1"/>
          </p:cNvGraphicFramePr>
          <p:nvPr>
            <p:ph sz="quarter" idx="2"/>
            <p:extLst>
              <p:ext uri="{D42A27DB-BD31-4B8C-83A1-F6EECF244321}">
                <p14:modId xmlns:p14="http://schemas.microsoft.com/office/powerpoint/2010/main" val="3684582093"/>
              </p:ext>
            </p:extLst>
          </p:nvPr>
        </p:nvGraphicFramePr>
        <p:xfrm>
          <a:off x="6965656" y="2072575"/>
          <a:ext cx="3795713" cy="6810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2692400" imgH="482600" progId="Equation.3">
                  <p:embed/>
                </p:oleObj>
              </mc:Choice>
              <mc:Fallback>
                <p:oleObj name="Equation" r:id="rId3" imgW="2692400" imgH="482600" progId="Equation.3">
                  <p:embed/>
                  <p:pic>
                    <p:nvPicPr>
                      <p:cNvPr id="14341" name="Object 4">
                        <a:extLst>
                          <a:ext uri="{FF2B5EF4-FFF2-40B4-BE49-F238E27FC236}">
                            <a16:creationId xmlns:a16="http://schemas.microsoft.com/office/drawing/2014/main" id="{1D2CA7A6-B208-F8D4-E5B9-66A0C087C84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65656" y="2072575"/>
                        <a:ext cx="3795713" cy="681037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Number Placeholder 5">
            <a:extLst>
              <a:ext uri="{FF2B5EF4-FFF2-40B4-BE49-F238E27FC236}">
                <a16:creationId xmlns:a16="http://schemas.microsoft.com/office/drawing/2014/main" id="{B1EFCA4C-E841-7366-37C7-98A48E6C04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CDD60CD8-EB57-4FBA-B804-34A83FA00E49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5363" name="Rectangle 2">
            <a:extLst>
              <a:ext uri="{FF2B5EF4-FFF2-40B4-BE49-F238E27FC236}">
                <a16:creationId xmlns:a16="http://schemas.microsoft.com/office/drawing/2014/main" id="{A6ED3B68-93E1-23FE-D558-97C029CDBA0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4197" y="222252"/>
            <a:ext cx="9448800" cy="695325"/>
          </a:xfrm>
        </p:spPr>
        <p:txBody>
          <a:bodyPr/>
          <a:lstStyle/>
          <a:p>
            <a:pPr eaLnBrk="1" hangingPunct="1"/>
            <a:r>
              <a:rPr lang="en-US" altLang="en-US" sz="2750" b="0" dirty="0">
                <a:latin typeface="Invention Light" panose="020B0403020008020204" pitchFamily="34" charset="0"/>
              </a:rPr>
              <a:t>OLS / RE / FE Methods Exploration - 3</a:t>
            </a:r>
          </a:p>
        </p:txBody>
      </p:sp>
      <p:sp>
        <p:nvSpPr>
          <p:cNvPr id="15364" name="Rectangle 3">
            <a:extLst>
              <a:ext uri="{FF2B5EF4-FFF2-40B4-BE49-F238E27FC236}">
                <a16:creationId xmlns:a16="http://schemas.microsoft.com/office/drawing/2014/main" id="{E665D53B-B868-6B3E-D372-A2A6E302B8FA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425302" y="950914"/>
            <a:ext cx="11419368" cy="5221287"/>
          </a:xfrm>
        </p:spPr>
        <p:txBody>
          <a:bodyPr/>
          <a:lstStyle/>
          <a:p>
            <a:pPr eaLnBrk="1" hangingPunct="1">
              <a:spcBef>
                <a:spcPct val="50000"/>
              </a:spcBef>
              <a:buFont typeface="Wingdings" panose="05000000000000000000" pitchFamily="2" charset="2"/>
              <a:buNone/>
            </a:pPr>
            <a:r>
              <a:rPr lang="en-US" altLang="en-US" sz="1800" b="1" dirty="0">
                <a:latin typeface="Invention" panose="020B0503020008020204" pitchFamily="34" charset="0"/>
              </a:rPr>
              <a:t>Extended Model</a:t>
            </a:r>
          </a:p>
          <a:p>
            <a:pPr lvl="1" eaLnBrk="1" hangingPunct="1">
              <a:spcBef>
                <a:spcPct val="10000"/>
              </a:spcBef>
              <a:buFont typeface="Arial" panose="020B0604020202020204" pitchFamily="34" charset="0"/>
              <a:buNone/>
            </a:pPr>
            <a:endParaRPr lang="en-US" altLang="en-US" sz="1800" dirty="0"/>
          </a:p>
          <a:p>
            <a:pPr lvl="1" eaLnBrk="1" hangingPunct="1">
              <a:spcBef>
                <a:spcPct val="10000"/>
              </a:spcBef>
              <a:buFont typeface="Arial" panose="020B0604020202020204" pitchFamily="34" charset="0"/>
              <a:buNone/>
            </a:pPr>
            <a:endParaRPr lang="en-US" altLang="en-US" sz="1800" dirty="0"/>
          </a:p>
          <a:p>
            <a:pPr lvl="1" eaLnBrk="1" hangingPunct="1">
              <a:spcBef>
                <a:spcPct val="10000"/>
              </a:spcBef>
              <a:buFont typeface="Arial" panose="020B0604020202020204" pitchFamily="34" charset="0"/>
              <a:buNone/>
            </a:pPr>
            <a:endParaRPr lang="en-US" altLang="en-US" sz="1800" dirty="0"/>
          </a:p>
          <a:p>
            <a:pPr lvl="1" eaLnBrk="1" hangingPunct="1">
              <a:spcBef>
                <a:spcPct val="10000"/>
              </a:spcBef>
              <a:buFont typeface="Arial" panose="020B0604020202020204" pitchFamily="34" charset="0"/>
              <a:buNone/>
            </a:pPr>
            <a:r>
              <a:rPr lang="el-GR" altLang="en-US" sz="1800" dirty="0"/>
              <a:t>α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altLang="en-US" sz="18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represents all differences between individuals that are stable over time and not otherwise accounted</a:t>
            </a:r>
          </a:p>
          <a:p>
            <a:pPr lvl="1" eaLnBrk="1" hangingPunct="1">
              <a:spcBef>
                <a:spcPct val="1000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for by z’s. It can be said to represent “unobserved heterogeneity”.</a:t>
            </a:r>
            <a:endParaRPr lang="el-GR" altLang="en-US" sz="1800" dirty="0"/>
          </a:p>
          <a:p>
            <a:pPr eaLnBrk="1" hangingPunct="1">
              <a:spcBef>
                <a:spcPct val="50000"/>
              </a:spcBef>
            </a:pPr>
            <a:endParaRPr lang="en-US" altLang="en-US" sz="1800" b="1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n-US" altLang="en-US" sz="1800" b="1" dirty="0">
                <a:latin typeface="Invention" panose="020B0503020008020204" pitchFamily="34" charset="0"/>
              </a:rPr>
              <a:t>Solution 3: Random Effects (Mixed) Models (PROC MIXED):</a:t>
            </a:r>
          </a:p>
          <a:p>
            <a:pPr lvl="1" eaLnBrk="1" hangingPunct="1">
              <a:spcBef>
                <a:spcPct val="50000"/>
              </a:spcBef>
            </a:pPr>
            <a:r>
              <a:rPr lang="el-GR" altLang="en-US" sz="1800" dirty="0"/>
              <a:t>α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altLang="en-US" sz="1800" dirty="0">
                <a:latin typeface="Invention" panose="020B0503020008020204" pitchFamily="34" charset="0"/>
              </a:rPr>
              <a:t> is assumed as N(0,</a:t>
            </a:r>
            <a:r>
              <a:rPr lang="el-GR" altLang="en-US" sz="1800" dirty="0"/>
              <a:t>Τ</a:t>
            </a:r>
            <a:r>
              <a:rPr lang="en-US" altLang="en-US" sz="1800" baseline="30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2</a:t>
            </a:r>
            <a:r>
              <a:rPr lang="en-US" altLang="en-US" sz="1800" dirty="0">
                <a:latin typeface="Invention" panose="020B0503020008020204" pitchFamily="34" charset="0"/>
              </a:rPr>
              <a:t>) and is UNCORRELATED with x, z, and error term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Random effects models do not really control for unobservable variables because of the above assumptions. 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One advantage is to test whether variance of </a:t>
            </a:r>
            <a:r>
              <a:rPr lang="el-GR" altLang="en-US" sz="1800" dirty="0"/>
              <a:t>α</a:t>
            </a:r>
            <a:r>
              <a:rPr lang="en-US" altLang="en-US" sz="1800" dirty="0">
                <a:latin typeface="Invention" panose="020B0503020008020204" pitchFamily="34" charset="0"/>
              </a:rPr>
              <a:t> is 0, which is equivalent to testing for dependence among the observations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Can be extended to allow for random coefficients.</a:t>
            </a:r>
            <a:endParaRPr lang="en-US" altLang="en-US" sz="1800" dirty="0">
              <a:solidFill>
                <a:schemeClr val="accent2"/>
              </a:solidFill>
              <a:latin typeface="Invention" panose="020B0503020008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aphicFrame>
        <p:nvGraphicFramePr>
          <p:cNvPr id="15365" name="Object 4">
            <a:extLst>
              <a:ext uri="{FF2B5EF4-FFF2-40B4-BE49-F238E27FC236}">
                <a16:creationId xmlns:a16="http://schemas.microsoft.com/office/drawing/2014/main" id="{887C18D6-DE68-6CA4-CE53-D2BEA1F27C08}"/>
              </a:ext>
            </a:extLst>
          </p:cNvPr>
          <p:cNvGraphicFramePr>
            <a:graphicFrameLocks noGrp="1" noChangeAspect="1"/>
          </p:cNvGraphicFramePr>
          <p:nvPr>
            <p:ph sz="quarter" idx="2"/>
            <p:extLst>
              <p:ext uri="{D42A27DB-BD31-4B8C-83A1-F6EECF244321}">
                <p14:modId xmlns:p14="http://schemas.microsoft.com/office/powerpoint/2010/main" val="1789634810"/>
              </p:ext>
            </p:extLst>
          </p:nvPr>
        </p:nvGraphicFramePr>
        <p:xfrm>
          <a:off x="3264712" y="1339703"/>
          <a:ext cx="4176561" cy="5619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1701800" imgH="228600" progId="Equation.3">
                  <p:embed/>
                </p:oleObj>
              </mc:Choice>
              <mc:Fallback>
                <p:oleObj name="Equation" r:id="rId3" imgW="1701800" imgH="228600" progId="Equation.3">
                  <p:embed/>
                  <p:pic>
                    <p:nvPicPr>
                      <p:cNvPr id="15365" name="Object 4">
                        <a:extLst>
                          <a:ext uri="{FF2B5EF4-FFF2-40B4-BE49-F238E27FC236}">
                            <a16:creationId xmlns:a16="http://schemas.microsoft.com/office/drawing/2014/main" id="{887C18D6-DE68-6CA4-CE53-D2BEA1F27C0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264712" y="1339703"/>
                        <a:ext cx="4176561" cy="561901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Model Part 3 - Topic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D7DF40C-9A41-0B8D-DC56-180880F8F29F}"/>
              </a:ext>
            </a:extLst>
          </p:cNvPr>
          <p:cNvSpPr txBox="1"/>
          <p:nvPr/>
        </p:nvSpPr>
        <p:spPr>
          <a:xfrm>
            <a:off x="-171610" y="1462322"/>
            <a:ext cx="11078867" cy="4522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Longitudinal (or Panel) Data Analysis</a:t>
            </a: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Paul Allison Chapter 2 Run through with Nasonex Example (theory and output)</a:t>
            </a:r>
          </a:p>
          <a:p>
            <a:pPr marL="1200150" marR="0" lvl="2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en-US" sz="18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Fixed Effects Model – Summary</a:t>
            </a:r>
          </a:p>
          <a:p>
            <a:pPr marL="1200150" marR="0" lvl="2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en-US" sz="1800" dirty="0">
                <a:ea typeface="Calibri" panose="020F0502020204030204" pitchFamily="34" charset="0"/>
                <a:cs typeface="Calibri" panose="020F0502020204030204" pitchFamily="34" charset="0"/>
              </a:rPr>
              <a:t>Concepts</a:t>
            </a:r>
          </a:p>
          <a:p>
            <a:pPr marL="1428750" lvl="3" indent="-28575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ea typeface="Calibri" panose="020F0502020204030204" pitchFamily="34" charset="0"/>
                <a:cs typeface="Calibri" panose="020F0502020204030204" pitchFamily="34" charset="0"/>
              </a:rPr>
              <a:t>Randomized experiments vs Non-experimental studies</a:t>
            </a:r>
          </a:p>
          <a:p>
            <a:pPr marL="1428750" lvl="3" indent="-28575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ea typeface="Calibri" panose="020F0502020204030204" pitchFamily="34" charset="0"/>
                <a:cs typeface="Calibri" panose="020F0502020204030204" pitchFamily="34" charset="0"/>
              </a:rPr>
              <a:t>Fixed Effects Methods</a:t>
            </a:r>
          </a:p>
          <a:p>
            <a:pPr marL="1200150" marR="0" lvl="2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en-US" sz="18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OLS / RE / FE  Methods and Explorations</a:t>
            </a:r>
          </a:p>
          <a:p>
            <a:pPr marL="1428750" lvl="3" indent="-28575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OLS</a:t>
            </a:r>
          </a:p>
          <a:p>
            <a:pPr marL="1428750" lvl="3" indent="-28575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Robust Standard Errors</a:t>
            </a:r>
          </a:p>
          <a:p>
            <a:pPr marL="1428750" lvl="3" indent="-28575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ea typeface="Calibri" panose="020F0502020204030204" pitchFamily="34" charset="0"/>
                <a:cs typeface="Calibri" panose="020F0502020204030204" pitchFamily="34" charset="0"/>
              </a:rPr>
              <a:t>Generalized Estimating Equations</a:t>
            </a:r>
          </a:p>
          <a:p>
            <a:pPr marL="1428750" lvl="3" indent="-28575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Random Effects</a:t>
            </a:r>
          </a:p>
          <a:p>
            <a:pPr marL="1428750" lvl="3" indent="-28575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ea typeface="Calibri" panose="020F0502020204030204" pitchFamily="34" charset="0"/>
                <a:cs typeface="Calibri" panose="020F0502020204030204" pitchFamily="34" charset="0"/>
              </a:rPr>
              <a:t>Fixed Effects</a:t>
            </a:r>
          </a:p>
          <a:p>
            <a:pPr marL="1428750" lvl="3" indent="-28575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Hybrid Methods</a:t>
            </a:r>
          </a:p>
          <a:p>
            <a:pPr marL="1428750" lvl="3" indent="-28575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en-US" sz="1800" dirty="0">
                <a:ea typeface="Calibri" panose="020F0502020204030204" pitchFamily="34" charset="0"/>
                <a:cs typeface="Calibri" panose="020F0502020204030204" pitchFamily="34" charset="0"/>
              </a:rPr>
              <a:t>Example Outputs</a:t>
            </a:r>
            <a:endParaRPr lang="en-US" sz="1800" dirty="0">
              <a:effectLst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Discussions on Panel Data analysis Classical Paper applied to Pharma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247988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Number Placeholder 5">
            <a:extLst>
              <a:ext uri="{FF2B5EF4-FFF2-40B4-BE49-F238E27FC236}">
                <a16:creationId xmlns:a16="http://schemas.microsoft.com/office/drawing/2014/main" id="{B1EFCA4C-E841-7366-37C7-98A48E6C04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CDD60CD8-EB57-4FBA-B804-34A83FA00E49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5363" name="Rectangle 2">
            <a:extLst>
              <a:ext uri="{FF2B5EF4-FFF2-40B4-BE49-F238E27FC236}">
                <a16:creationId xmlns:a16="http://schemas.microsoft.com/office/drawing/2014/main" id="{A6ED3B68-93E1-23FE-D558-97C029CDBA0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8477" y="197042"/>
            <a:ext cx="9448800" cy="695325"/>
          </a:xfrm>
        </p:spPr>
        <p:txBody>
          <a:bodyPr/>
          <a:lstStyle/>
          <a:p>
            <a:pPr eaLnBrk="1" hangingPunct="1"/>
            <a:r>
              <a:rPr lang="en-US" altLang="en-US" sz="2750" b="0" dirty="0">
                <a:latin typeface="Invention Light" panose="020B0403020008020204" pitchFamily="34" charset="0"/>
              </a:rPr>
              <a:t>OLS / RE / FE Methods Exploration - 3</a:t>
            </a:r>
          </a:p>
        </p:txBody>
      </p:sp>
      <p:sp>
        <p:nvSpPr>
          <p:cNvPr id="15364" name="Rectangle 3">
            <a:extLst>
              <a:ext uri="{FF2B5EF4-FFF2-40B4-BE49-F238E27FC236}">
                <a16:creationId xmlns:a16="http://schemas.microsoft.com/office/drawing/2014/main" id="{E665D53B-B868-6B3E-D372-A2A6E302B8FA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-132482" y="1112484"/>
            <a:ext cx="11419368" cy="4322136"/>
          </a:xfrm>
        </p:spPr>
        <p:txBody>
          <a:bodyPr/>
          <a:lstStyle/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Use TSCSREG to do </a:t>
            </a:r>
            <a:r>
              <a:rPr lang="en-US" altLang="en-US" sz="1800" dirty="0" err="1">
                <a:latin typeface="Invention" panose="020B0503020008020204" pitchFamily="34" charset="0"/>
              </a:rPr>
              <a:t>Haussman</a:t>
            </a:r>
            <a:r>
              <a:rPr lang="en-US" altLang="en-US" sz="1800" dirty="0">
                <a:latin typeface="Invention" panose="020B0503020008020204" pitchFamily="34" charset="0"/>
              </a:rPr>
              <a:t> test to verify if we need to consider FE model (i.e., RE vs. FE model)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EMPIRICAL option below provides robust standard errors.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PROC MIXED DATA=</a:t>
            </a:r>
            <a:r>
              <a:rPr lang="en-US" altLang="en-US" sz="1800" dirty="0" err="1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abc</a:t>
            </a: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COVTEST EMPIRICAL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CLASS </a:t>
            </a:r>
            <a:r>
              <a:rPr lang="en-US" altLang="en-US" sz="1800" dirty="0" err="1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dma</a:t>
            </a: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altLang="en-US" sz="1800" dirty="0" err="1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yearmo</a:t>
            </a: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MODEL y = x1 x2 x3 z1 z2 z3 / SOLUTION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RANDOM INTERCEPT / SUBJECT=</a:t>
            </a:r>
            <a:r>
              <a:rPr lang="en-US" altLang="en-US" sz="1800" dirty="0" err="1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dma</a:t>
            </a: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en-US" sz="1800" dirty="0">
              <a:solidFill>
                <a:schemeClr val="accent2"/>
              </a:solidFill>
              <a:latin typeface="Invention" panose="020B0503020008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779877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Number Placeholder 5">
            <a:extLst>
              <a:ext uri="{FF2B5EF4-FFF2-40B4-BE49-F238E27FC236}">
                <a16:creationId xmlns:a16="http://schemas.microsoft.com/office/drawing/2014/main" id="{B6343BF0-F492-D6C3-EAB5-F1A43C58FE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F4E53096-5FCC-4EFD-B411-F5A2B6909B2D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6387" name="Rectangle 2">
            <a:extLst>
              <a:ext uri="{FF2B5EF4-FFF2-40B4-BE49-F238E27FC236}">
                <a16:creationId xmlns:a16="http://schemas.microsoft.com/office/drawing/2014/main" id="{5EC0856D-5EC6-15FD-90B4-CCE8F4A80E5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87621" y="181096"/>
            <a:ext cx="9448800" cy="695325"/>
          </a:xfrm>
        </p:spPr>
        <p:txBody>
          <a:bodyPr/>
          <a:lstStyle/>
          <a:p>
            <a:pPr eaLnBrk="1" hangingPunct="1"/>
            <a:r>
              <a:rPr lang="en-US" altLang="en-US" sz="2750" b="0" dirty="0">
                <a:latin typeface="Invention Light" panose="020B0403020008020204" pitchFamily="34" charset="0"/>
              </a:rPr>
              <a:t>OLS / RE / FE Methods Exploration - 4</a:t>
            </a:r>
          </a:p>
        </p:txBody>
      </p:sp>
      <p:sp>
        <p:nvSpPr>
          <p:cNvPr id="16388" name="Rectangle 3">
            <a:extLst>
              <a:ext uri="{FF2B5EF4-FFF2-40B4-BE49-F238E27FC236}">
                <a16:creationId xmlns:a16="http://schemas.microsoft.com/office/drawing/2014/main" id="{9246A3E4-BE32-2648-55DF-EC65E96CB2E0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310471" y="950914"/>
            <a:ext cx="10653823" cy="5221287"/>
          </a:xfrm>
        </p:spPr>
        <p:txBody>
          <a:bodyPr/>
          <a:lstStyle/>
          <a:p>
            <a:pPr eaLnBrk="1" hangingPunct="1">
              <a:spcBef>
                <a:spcPct val="50000"/>
              </a:spcBef>
              <a:buFont typeface="Wingdings" panose="05000000000000000000" pitchFamily="2" charset="2"/>
              <a:buNone/>
            </a:pPr>
            <a:r>
              <a:rPr lang="en-US" altLang="en-US" sz="1800" b="1" dirty="0">
                <a:latin typeface="Invention" panose="020B0503020008020204" pitchFamily="34" charset="0"/>
              </a:rPr>
              <a:t>Extended Model</a:t>
            </a:r>
          </a:p>
          <a:p>
            <a:pPr lvl="1" eaLnBrk="1" hangingPunct="1">
              <a:spcBef>
                <a:spcPct val="10000"/>
              </a:spcBef>
              <a:buFont typeface="Arial" panose="020B0604020202020204" pitchFamily="34" charset="0"/>
              <a:buNone/>
            </a:pPr>
            <a:endParaRPr lang="en-US" altLang="en-US" sz="1800" dirty="0"/>
          </a:p>
          <a:p>
            <a:pPr lvl="1" eaLnBrk="1" hangingPunct="1">
              <a:spcBef>
                <a:spcPct val="10000"/>
              </a:spcBef>
              <a:buFont typeface="Arial" panose="020B0604020202020204" pitchFamily="34" charset="0"/>
              <a:buNone/>
            </a:pPr>
            <a:endParaRPr lang="en-US" altLang="en-US" sz="1800" dirty="0"/>
          </a:p>
          <a:p>
            <a:pPr lvl="1" eaLnBrk="1" hangingPunct="1">
              <a:spcBef>
                <a:spcPct val="10000"/>
              </a:spcBef>
              <a:buFont typeface="Arial" panose="020B0604020202020204" pitchFamily="34" charset="0"/>
              <a:buNone/>
            </a:pPr>
            <a:endParaRPr lang="en-US" altLang="en-US" sz="1800" dirty="0"/>
          </a:p>
          <a:p>
            <a:pPr lvl="1" eaLnBrk="1" hangingPunct="1">
              <a:spcBef>
                <a:spcPct val="10000"/>
              </a:spcBef>
              <a:buFont typeface="Arial" panose="020B0604020202020204" pitchFamily="34" charset="0"/>
              <a:buNone/>
            </a:pPr>
            <a:r>
              <a:rPr lang="el-GR" altLang="en-US" sz="1800" dirty="0"/>
              <a:t>α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altLang="en-US" sz="18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is treated as a set of fixed constants, one for each individual. This allows it to be correlated with x, and z.</a:t>
            </a:r>
            <a:endParaRPr lang="el-GR" altLang="en-US" sz="1800" dirty="0"/>
          </a:p>
          <a:p>
            <a:pPr eaLnBrk="1" hangingPunct="1">
              <a:spcBef>
                <a:spcPct val="50000"/>
              </a:spcBef>
            </a:pPr>
            <a:endParaRPr lang="en-US" altLang="en-US" sz="1800" b="1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n-US" altLang="en-US" sz="1800" b="1" dirty="0">
                <a:latin typeface="Invention" panose="020B0503020008020204" pitchFamily="34" charset="0"/>
              </a:rPr>
              <a:t>Solution 4: Fixed Effects Models (PROC GLM):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Fixed effects methods not only produce standard errors that adjust for dependence, they also </a:t>
            </a:r>
            <a:r>
              <a:rPr lang="en-US" altLang="en-US" sz="1800" i="1" u="sng" dirty="0">
                <a:latin typeface="Invention" panose="020B0503020008020204" pitchFamily="34" charset="0"/>
              </a:rPr>
              <a:t>control for all stable characteristics of the individuals</a:t>
            </a:r>
            <a:r>
              <a:rPr lang="en-US" altLang="en-US" sz="1800" dirty="0">
                <a:latin typeface="Invention" panose="020B0503020008020204" pitchFamily="34" charset="0"/>
              </a:rPr>
              <a:t>, whether observed or unobserved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Conventional Fixed Effects will NOT produce coefficient estimates for time-invariant predictors (since </a:t>
            </a:r>
            <a:r>
              <a:rPr lang="el-GR" altLang="en-US" sz="1800" dirty="0"/>
              <a:t>α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altLang="en-US" sz="18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altLang="en-US" sz="1800" dirty="0">
                <a:latin typeface="Invention" panose="020B0503020008020204" pitchFamily="34" charset="0"/>
              </a:rPr>
              <a:t>is perfectly collinear with z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altLang="en-US" sz="1800" dirty="0">
                <a:latin typeface="Invention" panose="020B0503020008020204" pitchFamily="34" charset="0"/>
              </a:rPr>
              <a:t>). 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en-US" sz="1800" dirty="0">
              <a:solidFill>
                <a:schemeClr val="accent2"/>
              </a:solidFill>
              <a:latin typeface="Invention" panose="020B0503020008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aphicFrame>
        <p:nvGraphicFramePr>
          <p:cNvPr id="16389" name="Object 4">
            <a:extLst>
              <a:ext uri="{FF2B5EF4-FFF2-40B4-BE49-F238E27FC236}">
                <a16:creationId xmlns:a16="http://schemas.microsoft.com/office/drawing/2014/main" id="{A9481713-60FD-D70D-FF0F-DE1D246B0712}"/>
              </a:ext>
            </a:extLst>
          </p:cNvPr>
          <p:cNvGraphicFramePr>
            <a:graphicFrameLocks noGrp="1" noChangeAspect="1"/>
          </p:cNvGraphicFramePr>
          <p:nvPr>
            <p:ph sz="quarter" idx="2"/>
            <p:extLst>
              <p:ext uri="{D42A27DB-BD31-4B8C-83A1-F6EECF244321}">
                <p14:modId xmlns:p14="http://schemas.microsoft.com/office/powerpoint/2010/main" val="4169439960"/>
              </p:ext>
            </p:extLst>
          </p:nvPr>
        </p:nvGraphicFramePr>
        <p:xfrm>
          <a:off x="3364183" y="1497253"/>
          <a:ext cx="3528121" cy="4746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1701800" imgH="228600" progId="Equation.3">
                  <p:embed/>
                </p:oleObj>
              </mc:Choice>
              <mc:Fallback>
                <p:oleObj name="Equation" r:id="rId3" imgW="1701800" imgH="228600" progId="Equation.3">
                  <p:embed/>
                  <p:pic>
                    <p:nvPicPr>
                      <p:cNvPr id="16389" name="Object 4">
                        <a:extLst>
                          <a:ext uri="{FF2B5EF4-FFF2-40B4-BE49-F238E27FC236}">
                            <a16:creationId xmlns:a16="http://schemas.microsoft.com/office/drawing/2014/main" id="{A9481713-60FD-D70D-FF0F-DE1D246B071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64183" y="1497253"/>
                        <a:ext cx="3528121" cy="474662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Number Placeholder 5">
            <a:extLst>
              <a:ext uri="{FF2B5EF4-FFF2-40B4-BE49-F238E27FC236}">
                <a16:creationId xmlns:a16="http://schemas.microsoft.com/office/drawing/2014/main" id="{B6343BF0-F492-D6C3-EAB5-F1A43C58FE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F4E53096-5FCC-4EFD-B411-F5A2B6909B2D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6387" name="Rectangle 2">
            <a:extLst>
              <a:ext uri="{FF2B5EF4-FFF2-40B4-BE49-F238E27FC236}">
                <a16:creationId xmlns:a16="http://schemas.microsoft.com/office/drawing/2014/main" id="{5EC0856D-5EC6-15FD-90B4-CCE8F4A80E5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8477" y="178754"/>
            <a:ext cx="9448800" cy="695325"/>
          </a:xfrm>
        </p:spPr>
        <p:txBody>
          <a:bodyPr/>
          <a:lstStyle/>
          <a:p>
            <a:pPr eaLnBrk="1" hangingPunct="1"/>
            <a:r>
              <a:rPr lang="en-US" altLang="en-US" sz="2750" b="0" dirty="0">
                <a:latin typeface="Invention Light" panose="020B0403020008020204" pitchFamily="34" charset="0"/>
              </a:rPr>
              <a:t>OLS / RE / FE Methods Exploration - 4</a:t>
            </a:r>
          </a:p>
        </p:txBody>
      </p:sp>
      <p:sp>
        <p:nvSpPr>
          <p:cNvPr id="16388" name="Rectangle 3">
            <a:extLst>
              <a:ext uri="{FF2B5EF4-FFF2-40B4-BE49-F238E27FC236}">
                <a16:creationId xmlns:a16="http://schemas.microsoft.com/office/drawing/2014/main" id="{9246A3E4-BE32-2648-55DF-EC65E96CB2E0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327837" y="1054339"/>
            <a:ext cx="11536325" cy="5221287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en-US" sz="1800" b="1" dirty="0">
                <a:latin typeface="Invention" panose="020B0503020008020204" pitchFamily="34" charset="0"/>
              </a:rPr>
              <a:t>Solution 4: Fixed Effects Models (PROC GLM) – cont’d: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One trick to simplify the estimation is to “condition out” the </a:t>
            </a:r>
            <a:r>
              <a:rPr lang="el-GR" altLang="en-US" sz="1800" dirty="0"/>
              <a:t>α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altLang="en-US" sz="1800" dirty="0">
                <a:latin typeface="Invention" panose="020B0503020008020204" pitchFamily="34" charset="0"/>
              </a:rPr>
              <a:t>’s. Conditioning out is achieved by centering the individual level vars across time for </a:t>
            </a:r>
            <a:r>
              <a:rPr lang="en-US" altLang="en-US" sz="1800" u="sng" dirty="0">
                <a:latin typeface="Invention" panose="020B0503020008020204" pitchFamily="34" charset="0"/>
              </a:rPr>
              <a:t>each</a:t>
            </a:r>
            <a:r>
              <a:rPr lang="en-US" altLang="en-US" sz="1800" dirty="0">
                <a:latin typeface="Invention" panose="020B0503020008020204" pitchFamily="34" charset="0"/>
              </a:rPr>
              <a:t> individual. Then, regress the centered variables along with time indicators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This is automatically done using ABSORB statement in PROC GLM.</a:t>
            </a:r>
          </a:p>
          <a:p>
            <a:pPr lvl="1" eaLnBrk="1" hangingPunct="1">
              <a:spcBef>
                <a:spcPct val="50000"/>
              </a:spcBef>
              <a:buFont typeface="Arial" panose="020B0604020202020204" pitchFamily="34" charset="0"/>
              <a:buNone/>
            </a:pPr>
            <a:endParaRPr lang="en-US" altLang="en-US" sz="1800" dirty="0">
              <a:solidFill>
                <a:schemeClr val="accent2"/>
              </a:solidFill>
              <a:latin typeface="Invention" panose="020B0503020008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1" eaLnBrk="1" hangingPunct="1">
              <a:spcBef>
                <a:spcPct val="50000"/>
              </a:spcBef>
              <a:buFont typeface="Arial" panose="020B0604020202020204" pitchFamily="34" charset="0"/>
              <a:buNone/>
            </a:pPr>
            <a:endParaRPr lang="en-US" altLang="en-US" sz="1800" dirty="0">
              <a:solidFill>
                <a:schemeClr val="accent2"/>
              </a:solidFill>
              <a:latin typeface="Invention" panose="020B0503020008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1" eaLnBrk="1" hangingPunct="1">
              <a:spcBef>
                <a:spcPct val="5000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PROC GLM DATA=</a:t>
            </a:r>
            <a:r>
              <a:rPr lang="en-US" altLang="en-US" sz="1800" dirty="0" err="1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abc</a:t>
            </a: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ABSORB </a:t>
            </a:r>
            <a:r>
              <a:rPr lang="en-US" altLang="en-US" sz="1800" dirty="0" err="1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dma</a:t>
            </a: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CLASS </a:t>
            </a:r>
            <a:r>
              <a:rPr lang="en-US" altLang="en-US" sz="1800" dirty="0" err="1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yearmo</a:t>
            </a: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MODEL y = </a:t>
            </a:r>
            <a:r>
              <a:rPr lang="en-US" altLang="en-US" sz="1800" dirty="0" err="1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yearmo</a:t>
            </a:r>
            <a:r>
              <a:rPr lang="en-US" altLang="en-US" sz="1800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x1 x2 x3  / SOLUTION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en-US" sz="1800" dirty="0">
              <a:solidFill>
                <a:schemeClr val="accent2"/>
              </a:solidFill>
              <a:latin typeface="Invention" panose="020B0503020008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en-US" sz="1800" dirty="0">
              <a:solidFill>
                <a:schemeClr val="accent2"/>
              </a:solidFill>
              <a:latin typeface="Invention" panose="020B0503020008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aphicFrame>
        <p:nvGraphicFramePr>
          <p:cNvPr id="16390" name="Object 5">
            <a:extLst>
              <a:ext uri="{FF2B5EF4-FFF2-40B4-BE49-F238E27FC236}">
                <a16:creationId xmlns:a16="http://schemas.microsoft.com/office/drawing/2014/main" id="{0591514E-5138-FD79-1C63-7BB2839595F6}"/>
              </a:ext>
            </a:extLst>
          </p:cNvPr>
          <p:cNvGraphicFramePr>
            <a:graphicFrameLocks noGrp="1" noChangeAspect="1"/>
          </p:cNvGraphicFramePr>
          <p:nvPr>
            <p:ph sz="quarter" idx="3"/>
            <p:extLst>
              <p:ext uri="{D42A27DB-BD31-4B8C-83A1-F6EECF244321}">
                <p14:modId xmlns:p14="http://schemas.microsoft.com/office/powerpoint/2010/main" val="2357802446"/>
              </p:ext>
            </p:extLst>
          </p:nvPr>
        </p:nvGraphicFramePr>
        <p:xfrm>
          <a:off x="6436532" y="3664982"/>
          <a:ext cx="3678843" cy="14280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1765300" imgH="685800" progId="Equation.3">
                  <p:embed/>
                </p:oleObj>
              </mc:Choice>
              <mc:Fallback>
                <p:oleObj name="Equation" r:id="rId3" imgW="1765300" imgH="685800" progId="Equation.3">
                  <p:embed/>
                  <p:pic>
                    <p:nvPicPr>
                      <p:cNvPr id="16390" name="Object 5">
                        <a:extLst>
                          <a:ext uri="{FF2B5EF4-FFF2-40B4-BE49-F238E27FC236}">
                            <a16:creationId xmlns:a16="http://schemas.microsoft.com/office/drawing/2014/main" id="{0591514E-5138-FD79-1C63-7BB2839595F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436532" y="3664982"/>
                        <a:ext cx="3678843" cy="1428012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806686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Number Placeholder 5">
            <a:extLst>
              <a:ext uri="{FF2B5EF4-FFF2-40B4-BE49-F238E27FC236}">
                <a16:creationId xmlns:a16="http://schemas.microsoft.com/office/drawing/2014/main" id="{3F29A2CF-8C9C-832C-37A1-9BE865882E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4AF33B56-DEA3-4F36-A3BE-3B9B74EEAADA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7411" name="Rectangle 2">
            <a:extLst>
              <a:ext uri="{FF2B5EF4-FFF2-40B4-BE49-F238E27FC236}">
                <a16:creationId xmlns:a16="http://schemas.microsoft.com/office/drawing/2014/main" id="{B6E34386-9846-3A1C-AA55-47799D89A48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15053" y="169610"/>
            <a:ext cx="9448800" cy="695325"/>
          </a:xfrm>
        </p:spPr>
        <p:txBody>
          <a:bodyPr/>
          <a:lstStyle/>
          <a:p>
            <a:pPr eaLnBrk="1" hangingPunct="1"/>
            <a:r>
              <a:rPr lang="en-US" altLang="en-US" sz="2750" b="0" dirty="0">
                <a:latin typeface="Invention Light" panose="020B0403020008020204" pitchFamily="34" charset="0"/>
              </a:rPr>
              <a:t>OLS / RE / FE Methods Exploration - 5</a:t>
            </a:r>
          </a:p>
        </p:txBody>
      </p:sp>
      <p:sp>
        <p:nvSpPr>
          <p:cNvPr id="17412" name="Rectangle 3">
            <a:extLst>
              <a:ext uri="{FF2B5EF4-FFF2-40B4-BE49-F238E27FC236}">
                <a16:creationId xmlns:a16="http://schemas.microsoft.com/office/drawing/2014/main" id="{FD6F3C7B-88C6-97B6-EFF7-DBE224DEFC8B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300051" y="1145657"/>
            <a:ext cx="11072037" cy="4566685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en-US" sz="1800" b="1" dirty="0">
                <a:latin typeface="Invention" panose="020B0503020008020204" pitchFamily="34" charset="0"/>
              </a:rPr>
              <a:t>Solution 5: Fixed Effects Models (cont’d) 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Fixed effects methods use only variation within individuals to estimate the coefficients. 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A consequence is that standard errors tend to be larger for FE models than for RE or GEE. 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Each individual serves as his or her own control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b="1" i="1" dirty="0">
                <a:latin typeface="Invention" panose="020B0503020008020204" pitchFamily="34" charset="0"/>
              </a:rPr>
              <a:t>In sum, FE methods reduce bias but at the expense of increased standard errors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If there’s very little variation within individuals, FE methods are not useful.</a:t>
            </a:r>
          </a:p>
          <a:p>
            <a:pPr lvl="1"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Number Placeholder 5">
            <a:extLst>
              <a:ext uri="{FF2B5EF4-FFF2-40B4-BE49-F238E27FC236}">
                <a16:creationId xmlns:a16="http://schemas.microsoft.com/office/drawing/2014/main" id="{3F29A2CF-8C9C-832C-37A1-9BE865882E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4AF33B56-DEA3-4F36-A3BE-3B9B74EEAADA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7411" name="Rectangle 2">
            <a:extLst>
              <a:ext uri="{FF2B5EF4-FFF2-40B4-BE49-F238E27FC236}">
                <a16:creationId xmlns:a16="http://schemas.microsoft.com/office/drawing/2014/main" id="{B6E34386-9846-3A1C-AA55-47799D89A48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87621" y="179720"/>
            <a:ext cx="9448800" cy="695325"/>
          </a:xfrm>
        </p:spPr>
        <p:txBody>
          <a:bodyPr/>
          <a:lstStyle/>
          <a:p>
            <a:pPr eaLnBrk="1" hangingPunct="1"/>
            <a:r>
              <a:rPr lang="en-US" altLang="en-US" sz="2750" b="0" dirty="0">
                <a:latin typeface="Invention Light" panose="020B0403020008020204" pitchFamily="34" charset="0"/>
              </a:rPr>
              <a:t>OLS / RE / FE Methods Exploration - 5</a:t>
            </a:r>
          </a:p>
        </p:txBody>
      </p:sp>
      <p:sp>
        <p:nvSpPr>
          <p:cNvPr id="17412" name="Rectangle 3">
            <a:extLst>
              <a:ext uri="{FF2B5EF4-FFF2-40B4-BE49-F238E27FC236}">
                <a16:creationId xmlns:a16="http://schemas.microsoft.com/office/drawing/2014/main" id="{FD6F3C7B-88C6-97B6-EFF7-DBE224DEFC8B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309195" y="1169785"/>
            <a:ext cx="11072037" cy="5087680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en-US" sz="1800" b="1" dirty="0">
                <a:latin typeface="Invention" panose="020B0503020008020204" pitchFamily="34" charset="0"/>
              </a:rPr>
              <a:t>Solution 6: Hybrid method (PROC MIXED)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Extends the virtues of FE and RE methods. Produces FE estimates for time-varying predictors and RE estimates for time-invariant predictors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b="1" i="1" dirty="0">
                <a:latin typeface="Invention" panose="020B0503020008020204" pitchFamily="34" charset="0"/>
              </a:rPr>
              <a:t>Provides a test of FE vs. RE models for each of the time-varying parameters</a:t>
            </a:r>
            <a:r>
              <a:rPr lang="en-US" altLang="en-US" sz="1800" dirty="0">
                <a:latin typeface="Invention" panose="020B0503020008020204" pitchFamily="34" charset="0"/>
              </a:rPr>
              <a:t>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Can be extended to allow for random coefficients and more complicated error structures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Basic Idea:</a:t>
            </a:r>
          </a:p>
          <a:p>
            <a:pPr lvl="2"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2"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2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Decompose each time-varying predictor into within and between individual values.</a:t>
            </a:r>
          </a:p>
          <a:p>
            <a:pPr lvl="2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Put both parts in RE model along with z and time indicators.</a:t>
            </a:r>
          </a:p>
          <a:p>
            <a:pPr lvl="2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Test whether coefficients for the two parts are same (using CONTRASTS).</a:t>
            </a:r>
          </a:p>
        </p:txBody>
      </p:sp>
      <p:graphicFrame>
        <p:nvGraphicFramePr>
          <p:cNvPr id="17413" name="Object 5">
            <a:extLst>
              <a:ext uri="{FF2B5EF4-FFF2-40B4-BE49-F238E27FC236}">
                <a16:creationId xmlns:a16="http://schemas.microsoft.com/office/drawing/2014/main" id="{D0B5509F-9845-4AC4-CF5C-E120226571BE}"/>
              </a:ext>
            </a:extLst>
          </p:cNvPr>
          <p:cNvGraphicFramePr>
            <a:graphicFrameLocks noGrp="1" noChangeAspect="1"/>
          </p:cNvGraphicFramePr>
          <p:nvPr>
            <p:ph sz="quarter" idx="3"/>
            <p:extLst>
              <p:ext uri="{D42A27DB-BD31-4B8C-83A1-F6EECF244321}">
                <p14:modId xmlns:p14="http://schemas.microsoft.com/office/powerpoint/2010/main" val="20523969"/>
              </p:ext>
            </p:extLst>
          </p:nvPr>
        </p:nvGraphicFramePr>
        <p:xfrm>
          <a:off x="4456294" y="3547873"/>
          <a:ext cx="2777837" cy="5692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1117600" imgH="228600" progId="Equation.3">
                  <p:embed/>
                </p:oleObj>
              </mc:Choice>
              <mc:Fallback>
                <p:oleObj name="Equation" r:id="rId3" imgW="1117600" imgH="228600" progId="Equation.3">
                  <p:embed/>
                  <p:pic>
                    <p:nvPicPr>
                      <p:cNvPr id="17413" name="Object 5">
                        <a:extLst>
                          <a:ext uri="{FF2B5EF4-FFF2-40B4-BE49-F238E27FC236}">
                            <a16:creationId xmlns:a16="http://schemas.microsoft.com/office/drawing/2014/main" id="{D0B5509F-9845-4AC4-CF5C-E120226571B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56294" y="3547873"/>
                        <a:ext cx="2777837" cy="569248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611080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3">
            <a:extLst>
              <a:ext uri="{FF2B5EF4-FFF2-40B4-BE49-F238E27FC236}">
                <a16:creationId xmlns:a16="http://schemas.microsoft.com/office/drawing/2014/main" id="{868F2DD4-79F5-C04B-5532-2C8A6E5B09C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159D7874-8937-4D02-878D-48F2BD0E6BBC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18435" name="Rectangle 2">
            <a:extLst>
              <a:ext uri="{FF2B5EF4-FFF2-40B4-BE49-F238E27FC236}">
                <a16:creationId xmlns:a16="http://schemas.microsoft.com/office/drawing/2014/main" id="{B0A95336-497D-D9A2-67C5-04D9FC02D37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96765" y="220790"/>
            <a:ext cx="9448800" cy="695325"/>
          </a:xfrm>
        </p:spPr>
        <p:txBody>
          <a:bodyPr/>
          <a:lstStyle/>
          <a:p>
            <a:pPr eaLnBrk="1" hangingPunct="1"/>
            <a:r>
              <a:rPr lang="en-US" altLang="en-US" sz="2750" b="0" dirty="0">
                <a:latin typeface="Invention Light" panose="020B0403020008020204" pitchFamily="34" charset="0"/>
              </a:rPr>
              <a:t>OLS / RE / FE Methods - Example</a:t>
            </a:r>
          </a:p>
        </p:txBody>
      </p:sp>
      <p:sp>
        <p:nvSpPr>
          <p:cNvPr id="18436" name="Rectangle 3">
            <a:extLst>
              <a:ext uri="{FF2B5EF4-FFF2-40B4-BE49-F238E27FC236}">
                <a16:creationId xmlns:a16="http://schemas.microsoft.com/office/drawing/2014/main" id="{67440F21-DCAE-D225-1A9A-6ADDAA56C44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31217" y="5521073"/>
            <a:ext cx="11100391" cy="865188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en-US" dirty="0">
                <a:latin typeface="Invention" panose="020B0503020008020204" pitchFamily="34" charset="0"/>
              </a:rPr>
              <a:t>Note changes in Lagged NRx and Details (while non-significant samples)</a:t>
            </a:r>
          </a:p>
          <a:p>
            <a:pPr eaLnBrk="1" hangingPunct="1">
              <a:spcBef>
                <a:spcPct val="50000"/>
              </a:spcBef>
            </a:pPr>
            <a:r>
              <a:rPr lang="en-US" altLang="en-US" dirty="0">
                <a:latin typeface="Invention" panose="020B0503020008020204" pitchFamily="34" charset="0"/>
              </a:rPr>
              <a:t>Stability differences in GRPNAS and GRPOTC in both tables</a:t>
            </a:r>
          </a:p>
          <a:p>
            <a:pPr eaLnBrk="1" hangingPunct="1">
              <a:spcBef>
                <a:spcPct val="50000"/>
              </a:spcBef>
            </a:pPr>
            <a:r>
              <a:rPr lang="en-US" altLang="en-US" dirty="0">
                <a:latin typeface="Invention" panose="020B0503020008020204" pitchFamily="34" charset="0"/>
              </a:rPr>
              <a:t>A very different values for GRPNAS across two tables (a possible pointer to model structure issues)</a:t>
            </a:r>
          </a:p>
        </p:txBody>
      </p:sp>
      <p:pic>
        <p:nvPicPr>
          <p:cNvPr id="18437" name="Picture 5">
            <a:extLst>
              <a:ext uri="{FF2B5EF4-FFF2-40B4-BE49-F238E27FC236}">
                <a16:creationId xmlns:a16="http://schemas.microsoft.com/office/drawing/2014/main" id="{15062E55-B289-1799-26B0-E101734CC9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217" y="1008064"/>
            <a:ext cx="5337175" cy="43561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438" name="Picture 6">
            <a:extLst>
              <a:ext uri="{FF2B5EF4-FFF2-40B4-BE49-F238E27FC236}">
                <a16:creationId xmlns:a16="http://schemas.microsoft.com/office/drawing/2014/main" id="{30CCFF23-B156-722A-FDD2-DA9416E6B1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5999" y="994570"/>
            <a:ext cx="2998787" cy="43830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Number Placeholder 3">
            <a:extLst>
              <a:ext uri="{FF2B5EF4-FFF2-40B4-BE49-F238E27FC236}">
                <a16:creationId xmlns:a16="http://schemas.microsoft.com/office/drawing/2014/main" id="{3612701C-9425-553D-BAC7-C2524E3123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F145DF22-2BF6-4BDB-9C19-0A35D310BC62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9219" name="Rectangle 2">
            <a:extLst>
              <a:ext uri="{FF2B5EF4-FFF2-40B4-BE49-F238E27FC236}">
                <a16:creationId xmlns:a16="http://schemas.microsoft.com/office/drawing/2014/main" id="{7391C742-F103-197B-FD7A-05B383DA6EF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59219" y="2100264"/>
            <a:ext cx="10685721" cy="2025169"/>
          </a:xfrm>
        </p:spPr>
        <p:txBody>
          <a:bodyPr/>
          <a:lstStyle/>
          <a:p>
            <a:pPr marL="457200" marR="0" lvl="1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24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Discussions on Panel Data Analysis Classical Paper applied to Pharma</a:t>
            </a: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1800" u="sng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800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zik and Jacobson Paper Link: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sz="18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https://www0.gsb.columbia.edu/mygsb/faculty/research/pubfiles/1079/Mizik_are_physicians_easy_marks.pdf</a:t>
            </a:r>
            <a:endParaRPr lang="en-US" altLang="en-US" dirty="0">
              <a:latin typeface="Invention" panose="020B05030200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78816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Longitudinal or Panel Data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87FA0F43-6D7E-E612-FF80-7347BE6C3533}"/>
              </a:ext>
            </a:extLst>
          </p:cNvPr>
          <p:cNvSpPr txBox="1">
            <a:spLocks noChangeArrowheads="1"/>
          </p:cNvSpPr>
          <p:nvPr/>
        </p:nvSpPr>
        <p:spPr>
          <a:xfrm>
            <a:off x="374904" y="1438519"/>
            <a:ext cx="11196084" cy="48477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9250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5138" indent="-1158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1025" indent="-1158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400"/>
              </a:spcAft>
              <a:buFont typeface="Arial" panose="020B0604020202020204" pitchFamily="34" charset="0"/>
              <a:buNone/>
              <a:defRPr lang="en-US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lang="en-US" sz="30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600"/>
              </a:spcBef>
              <a:buNone/>
            </a:pPr>
            <a:r>
              <a:rPr lang="en-US" altLang="en-US" sz="2000" dirty="0"/>
              <a:t>Has data that changes over time for each of the individuals in the data. Examples are listed:</a:t>
            </a: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3E6CEE29-CB7F-3A5A-7687-B94303107F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730" y="2114634"/>
            <a:ext cx="3935412" cy="40655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AB37FAE-2049-5F44-02E1-94FC9E5491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4573" y="2148797"/>
            <a:ext cx="4610100" cy="25241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7073234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Number Placeholder 3">
            <a:extLst>
              <a:ext uri="{FF2B5EF4-FFF2-40B4-BE49-F238E27FC236}">
                <a16:creationId xmlns:a16="http://schemas.microsoft.com/office/drawing/2014/main" id="{956F7A43-46AF-68F3-E599-82E208312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EC11A33F-2668-49E5-AF11-963EC5D3C1B2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5123" name="Rectangle 2">
            <a:extLst>
              <a:ext uri="{FF2B5EF4-FFF2-40B4-BE49-F238E27FC236}">
                <a16:creationId xmlns:a16="http://schemas.microsoft.com/office/drawing/2014/main" id="{C9621499-DAEE-E78F-831C-870BFADB974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05909" y="234949"/>
            <a:ext cx="9448800" cy="695325"/>
          </a:xfrm>
        </p:spPr>
        <p:txBody>
          <a:bodyPr/>
          <a:lstStyle/>
          <a:p>
            <a:pPr eaLnBrk="1" hangingPunct="1"/>
            <a:r>
              <a:rPr lang="en-US" altLang="en-US" sz="2750" b="0" dirty="0">
                <a:latin typeface="Invention Light" panose="020B04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Fixed Effects Model</a:t>
            </a:r>
          </a:p>
        </p:txBody>
      </p:sp>
      <p:sp>
        <p:nvSpPr>
          <p:cNvPr id="5124" name="Rectangle 3">
            <a:extLst>
              <a:ext uri="{FF2B5EF4-FFF2-40B4-BE49-F238E27FC236}">
                <a16:creationId xmlns:a16="http://schemas.microsoft.com/office/drawing/2014/main" id="{BC9A335F-2F52-DFCF-109F-28384062ED5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37265" y="1039941"/>
            <a:ext cx="11549935" cy="5386387"/>
          </a:xfrm>
        </p:spPr>
        <p:txBody>
          <a:bodyPr/>
          <a:lstStyle/>
          <a:p>
            <a:pPr eaLnBrk="1" hangingPunct="1">
              <a:spcBef>
                <a:spcPct val="10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Let us consider following model structure:</a:t>
            </a:r>
          </a:p>
          <a:p>
            <a:pPr lvl="1" eaLnBrk="1" hangingPunct="1">
              <a:lnSpc>
                <a:spcPct val="90000"/>
              </a:lnSpc>
              <a:spcBef>
                <a:spcPts val="1200"/>
              </a:spcBef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ts val="1200"/>
              </a:spcBef>
              <a:buNone/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ts val="1200"/>
              </a:spcBef>
              <a:buNone/>
            </a:pPr>
            <a:r>
              <a:rPr lang="en-US" altLang="en-US" sz="1800" dirty="0" err="1">
                <a:latin typeface="Invention" panose="020B0503020008020204" pitchFamily="34" charset="0"/>
              </a:rPr>
              <a:t>Y</a:t>
            </a:r>
            <a:r>
              <a:rPr lang="en-US" altLang="en-US" sz="1800" baseline="-25000" dirty="0" err="1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t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, </a:t>
            </a:r>
            <a:r>
              <a:rPr lang="en-US" altLang="en-US" sz="1800" dirty="0" err="1">
                <a:latin typeface="Invention" panose="020B0503020008020204" pitchFamily="34" charset="0"/>
              </a:rPr>
              <a:t>X</a:t>
            </a:r>
            <a:r>
              <a:rPr lang="en-US" altLang="en-US" sz="1800" baseline="-25000" dirty="0" err="1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t</a:t>
            </a:r>
            <a:r>
              <a:rPr lang="en-US" altLang="en-US" sz="1800" dirty="0">
                <a:latin typeface="Invention" panose="020B0503020008020204" pitchFamily="34" charset="0"/>
              </a:rPr>
              <a:t> is response and time variant variables for individual i and time t. Z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altLang="en-US" sz="1800" dirty="0">
                <a:latin typeface="Invention" panose="020B0503020008020204" pitchFamily="34" charset="0"/>
              </a:rPr>
              <a:t> time-invariant variables in the model</a:t>
            </a:r>
          </a:p>
          <a:p>
            <a:pPr lvl="1" eaLnBrk="1" hangingPunct="1">
              <a:lnSpc>
                <a:spcPct val="90000"/>
              </a:lnSpc>
              <a:spcBef>
                <a:spcPct val="10000"/>
              </a:spcBef>
              <a:buFont typeface="Arial" panose="020B0604020202020204" pitchFamily="34" charset="0"/>
              <a:buNone/>
            </a:pPr>
            <a:r>
              <a:rPr lang="el-GR" altLang="en-US" sz="1800" dirty="0"/>
              <a:t>α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altLang="en-US" sz="18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is treated as a set of fixed constants, one for each individual. This allows it to be correlated with x, z.</a:t>
            </a:r>
            <a:endParaRPr lang="el-GR" altLang="en-US" sz="1800" dirty="0"/>
          </a:p>
          <a:p>
            <a:pPr lvl="1" eaLnBrk="1" hangingPunct="1">
              <a:lnSpc>
                <a:spcPct val="90000"/>
              </a:lnSpc>
              <a:spcBef>
                <a:spcPct val="10000"/>
              </a:spcBef>
              <a:buFont typeface="Arial" panose="020B0604020202020204" pitchFamily="34" charset="0"/>
              <a:buNone/>
            </a:pPr>
            <a:r>
              <a:rPr lang="el-GR" altLang="en-US" sz="1800" dirty="0"/>
              <a:t>ε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t</a:t>
            </a:r>
            <a:r>
              <a:rPr lang="en-US" altLang="en-US" sz="18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is random error with mean 0 and constant variance, uncorrelated with x and z. </a:t>
            </a:r>
            <a:r>
              <a:rPr lang="el-GR" altLang="en-US" sz="1800" dirty="0"/>
              <a:t>β</a:t>
            </a:r>
            <a:r>
              <a:rPr lang="en-US" altLang="en-US" sz="1800" dirty="0">
                <a:latin typeface="Invention" panose="020B0503020008020204" pitchFamily="34" charset="0"/>
              </a:rPr>
              <a:t>, </a:t>
            </a:r>
            <a:r>
              <a:rPr lang="el-GR" altLang="en-US" sz="1800" dirty="0"/>
              <a:t>γ</a:t>
            </a:r>
            <a:r>
              <a:rPr lang="en-US" altLang="en-US" sz="1800" dirty="0">
                <a:latin typeface="Invention" panose="020B0503020008020204" pitchFamily="34" charset="0"/>
              </a:rPr>
              <a:t> parameter estimates. Different intercepts at each time point, coefficients are same across times.</a:t>
            </a:r>
            <a:endParaRPr lang="el-GR" altLang="en-US" sz="1800" dirty="0"/>
          </a:p>
          <a:p>
            <a:pPr eaLnBrk="1" hangingPunct="1">
              <a:spcBef>
                <a:spcPct val="10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Example:</a:t>
            </a:r>
          </a:p>
          <a:p>
            <a:pPr eaLnBrk="1" hangingPunct="1">
              <a:spcBef>
                <a:spcPct val="100000"/>
              </a:spcBef>
            </a:pPr>
            <a:endParaRPr lang="en-US" altLang="en-US" sz="2000" dirty="0">
              <a:latin typeface="Invention" panose="020B0503020008020204" pitchFamily="34" charset="0"/>
            </a:endParaRPr>
          </a:p>
        </p:txBody>
      </p:sp>
      <p:graphicFrame>
        <p:nvGraphicFramePr>
          <p:cNvPr id="5125" name="Object 1">
            <a:extLst>
              <a:ext uri="{FF2B5EF4-FFF2-40B4-BE49-F238E27FC236}">
                <a16:creationId xmlns:a16="http://schemas.microsoft.com/office/drawing/2014/main" id="{CA87E8DD-7D8D-6CDD-78D9-A55A47DA477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69370073"/>
              </p:ext>
            </p:extLst>
          </p:nvPr>
        </p:nvGraphicFramePr>
        <p:xfrm>
          <a:off x="2897650" y="1643081"/>
          <a:ext cx="3706813" cy="4587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2744640" imgH="385920" progId="Equation.3">
                  <p:embed/>
                </p:oleObj>
              </mc:Choice>
              <mc:Fallback>
                <p:oleObj name="Equation" r:id="rId3" imgW="2744640" imgH="385920" progId="Equation.3">
                  <p:embed/>
                  <p:pic>
                    <p:nvPicPr>
                      <p:cNvPr id="5125" name="Object 1">
                        <a:extLst>
                          <a:ext uri="{FF2B5EF4-FFF2-40B4-BE49-F238E27FC236}">
                            <a16:creationId xmlns:a16="http://schemas.microsoft.com/office/drawing/2014/main" id="{CA87E8DD-7D8D-6CDD-78D9-A55A47DA477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97650" y="1643081"/>
                        <a:ext cx="3706813" cy="4587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26" name="Object 2">
            <a:extLst>
              <a:ext uri="{FF2B5EF4-FFF2-40B4-BE49-F238E27FC236}">
                <a16:creationId xmlns:a16="http://schemas.microsoft.com/office/drawing/2014/main" id="{67D04930-6AA0-2348-6C2F-67BE4AF6F84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65960198"/>
              </p:ext>
            </p:extLst>
          </p:nvPr>
        </p:nvGraphicFramePr>
        <p:xfrm>
          <a:off x="2897650" y="4394181"/>
          <a:ext cx="5980112" cy="8207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5" imgW="3251160" imgH="457200" progId="Equation.3">
                  <p:embed/>
                </p:oleObj>
              </mc:Choice>
              <mc:Fallback>
                <p:oleObj name="Equation" r:id="rId5" imgW="3251160" imgH="457200" progId="Equation.3">
                  <p:embed/>
                  <p:pic>
                    <p:nvPicPr>
                      <p:cNvPr id="5126" name="Object 2">
                        <a:extLst>
                          <a:ext uri="{FF2B5EF4-FFF2-40B4-BE49-F238E27FC236}">
                            <a16:creationId xmlns:a16="http://schemas.microsoft.com/office/drawing/2014/main" id="{67D04930-6AA0-2348-6C2F-67BE4AF6F84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97650" y="4394181"/>
                        <a:ext cx="5980112" cy="820738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60">
            <a:extLst>
              <a:ext uri="{FF2B5EF4-FFF2-40B4-BE49-F238E27FC236}">
                <a16:creationId xmlns:a16="http://schemas.microsoft.com/office/drawing/2014/main" id="{102930F6-44DB-FC6F-5645-6E0313817880}"/>
              </a:ext>
            </a:extLst>
          </p:cNvPr>
          <p:cNvGrpSpPr>
            <a:grpSpLocks/>
          </p:cNvGrpSpPr>
          <p:nvPr/>
        </p:nvGrpSpPr>
        <p:grpSpPr bwMode="auto">
          <a:xfrm>
            <a:off x="10598151" y="538163"/>
            <a:ext cx="586316" cy="176212"/>
            <a:chOff x="5007" y="339"/>
            <a:chExt cx="133" cy="111"/>
          </a:xfrm>
        </p:grpSpPr>
        <p:sp>
          <p:nvSpPr>
            <p:cNvPr id="3" name="Freeform 55">
              <a:extLst>
                <a:ext uri="{FF2B5EF4-FFF2-40B4-BE49-F238E27FC236}">
                  <a16:creationId xmlns:a16="http://schemas.microsoft.com/office/drawing/2014/main" id="{DD51A2AC-8975-9136-A768-243F4BF59C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21 h 4000"/>
                <a:gd name="T2" fmla="*/ 7 w 4800"/>
                <a:gd name="T3" fmla="*/ 14 h 4000"/>
                <a:gd name="T4" fmla="*/ 119 w 4800"/>
                <a:gd name="T5" fmla="*/ 14 h 4000"/>
                <a:gd name="T6" fmla="*/ 119 w 4800"/>
                <a:gd name="T7" fmla="*/ 7 h 4000"/>
                <a:gd name="T8" fmla="*/ 126 w 4800"/>
                <a:gd name="T9" fmla="*/ 0 h 4000"/>
                <a:gd name="T10" fmla="*/ 133 w 4800"/>
                <a:gd name="T11" fmla="*/ 7 h 4000"/>
                <a:gd name="T12" fmla="*/ 133 w 4800"/>
                <a:gd name="T13" fmla="*/ 90 h 4000"/>
                <a:gd name="T14" fmla="*/ 126 w 4800"/>
                <a:gd name="T15" fmla="*/ 97 h 4000"/>
                <a:gd name="T16" fmla="*/ 14 w 4800"/>
                <a:gd name="T17" fmla="*/ 97 h 4000"/>
                <a:gd name="T18" fmla="*/ 14 w 4800"/>
                <a:gd name="T19" fmla="*/ 104 h 4000"/>
                <a:gd name="T20" fmla="*/ 7 w 4800"/>
                <a:gd name="T21" fmla="*/ 111 h 4000"/>
                <a:gd name="T22" fmla="*/ 0 w 4800"/>
                <a:gd name="T23" fmla="*/ 104 h 4000"/>
                <a:gd name="T24" fmla="*/ 0 w 4800"/>
                <a:gd name="T25" fmla="*/ 21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4" name="Freeform 56">
              <a:extLst>
                <a:ext uri="{FF2B5EF4-FFF2-40B4-BE49-F238E27FC236}">
                  <a16:creationId xmlns:a16="http://schemas.microsoft.com/office/drawing/2014/main" id="{89876D00-1287-9A7E-A967-23FD248153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4 h 375"/>
                <a:gd name="T2" fmla="*/ 7 w 500"/>
                <a:gd name="T3" fmla="*/ 11 h 375"/>
                <a:gd name="T4" fmla="*/ 14 w 500"/>
                <a:gd name="T5" fmla="*/ 4 h 375"/>
                <a:gd name="T6" fmla="*/ 11 w 500"/>
                <a:gd name="T7" fmla="*/ 0 h 375"/>
                <a:gd name="T8" fmla="*/ 7 w 500"/>
                <a:gd name="T9" fmla="*/ 4 h 375"/>
                <a:gd name="T10" fmla="*/ 7 w 500"/>
                <a:gd name="T11" fmla="*/ 11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5" name="Line 57">
              <a:extLst>
                <a:ext uri="{FF2B5EF4-FFF2-40B4-BE49-F238E27FC236}">
                  <a16:creationId xmlns:a16="http://schemas.microsoft.com/office/drawing/2014/main" id="{24945483-DA13-4C3B-3745-3A55ADD9853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6" name="Freeform 58">
              <a:extLst>
                <a:ext uri="{FF2B5EF4-FFF2-40B4-BE49-F238E27FC236}">
                  <a16:creationId xmlns:a16="http://schemas.microsoft.com/office/drawing/2014/main" id="{F00B0D0E-64FA-B1B4-4F95-F015457F2E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14 w 500"/>
                <a:gd name="T1" fmla="*/ 0 h 250"/>
                <a:gd name="T2" fmla="*/ 7 w 500"/>
                <a:gd name="T3" fmla="*/ 7 h 250"/>
                <a:gd name="T4" fmla="*/ 0 w 500"/>
                <a:gd name="T5" fmla="*/ 7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7" name="Freeform 59">
              <a:extLst>
                <a:ext uri="{FF2B5EF4-FFF2-40B4-BE49-F238E27FC236}">
                  <a16:creationId xmlns:a16="http://schemas.microsoft.com/office/drawing/2014/main" id="{58A8FED3-95CC-55D8-4345-ED44A41781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4 w 250"/>
                <a:gd name="T3" fmla="*/ 4 h 250"/>
                <a:gd name="T4" fmla="*/ 7 w 250"/>
                <a:gd name="T5" fmla="*/ 0 h 250"/>
                <a:gd name="T6" fmla="*/ 7 w 250"/>
                <a:gd name="T7" fmla="*/ 7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Number Placeholder 3">
            <a:extLst>
              <a:ext uri="{FF2B5EF4-FFF2-40B4-BE49-F238E27FC236}">
                <a16:creationId xmlns:a16="http://schemas.microsoft.com/office/drawing/2014/main" id="{956F7A43-46AF-68F3-E599-82E208312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EC11A33F-2668-49E5-AF11-963EC5D3C1B2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5123" name="Rectangle 2">
            <a:extLst>
              <a:ext uri="{FF2B5EF4-FFF2-40B4-BE49-F238E27FC236}">
                <a16:creationId xmlns:a16="http://schemas.microsoft.com/office/drawing/2014/main" id="{C9621499-DAEE-E78F-831C-870BFADB974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15053" y="190500"/>
            <a:ext cx="9448800" cy="695325"/>
          </a:xfrm>
        </p:spPr>
        <p:txBody>
          <a:bodyPr/>
          <a:lstStyle/>
          <a:p>
            <a:pPr eaLnBrk="1" hangingPunct="1"/>
            <a:r>
              <a:rPr lang="en-US" altLang="en-US" sz="2750" b="0" dirty="0">
                <a:latin typeface="Invention Light" panose="020B04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Fixed Effects Model</a:t>
            </a:r>
          </a:p>
        </p:txBody>
      </p:sp>
      <p:sp>
        <p:nvSpPr>
          <p:cNvPr id="5124" name="Rectangle 3">
            <a:extLst>
              <a:ext uri="{FF2B5EF4-FFF2-40B4-BE49-F238E27FC236}">
                <a16:creationId xmlns:a16="http://schemas.microsoft.com/office/drawing/2014/main" id="{BC9A335F-2F52-DFCF-109F-28384062ED5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08132" y="1166813"/>
            <a:ext cx="11423521" cy="5386387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Fixed effects methods ignores between-person variation and focuses only on within-person variation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Disadvantage: Discarding between-person variation can yield standard errors that are considerably higher than those methods that use both within- and between-person variation.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Advantage: Between-person variation is very likely to be contaminated by unmeasured personal characteristics that are correlated with dependent and/or other independent variables. By restricting ourselves to within-person variation, we eliminate that contamination and are much more likely to get unbiased estimates.</a:t>
            </a:r>
          </a:p>
          <a:p>
            <a:pPr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We are dealing with the trade-off between bias and sampling variability. For nonexperimental data, fixed effects methods tend to reduce bias at the expense of greater sampling variability.</a:t>
            </a:r>
          </a:p>
          <a:p>
            <a:pPr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Fixed effect methods do not provide an estimate for time-invariant variables. Interactions between time-invariant and time-variant vars could be estimated.</a:t>
            </a:r>
          </a:p>
        </p:txBody>
      </p:sp>
      <p:grpSp>
        <p:nvGrpSpPr>
          <p:cNvPr id="2" name="Group 60">
            <a:extLst>
              <a:ext uri="{FF2B5EF4-FFF2-40B4-BE49-F238E27FC236}">
                <a16:creationId xmlns:a16="http://schemas.microsoft.com/office/drawing/2014/main" id="{102930F6-44DB-FC6F-5645-6E0313817880}"/>
              </a:ext>
            </a:extLst>
          </p:cNvPr>
          <p:cNvGrpSpPr>
            <a:grpSpLocks/>
          </p:cNvGrpSpPr>
          <p:nvPr/>
        </p:nvGrpSpPr>
        <p:grpSpPr bwMode="auto">
          <a:xfrm>
            <a:off x="10598151" y="538163"/>
            <a:ext cx="586316" cy="176212"/>
            <a:chOff x="5007" y="339"/>
            <a:chExt cx="133" cy="111"/>
          </a:xfrm>
        </p:grpSpPr>
        <p:sp>
          <p:nvSpPr>
            <p:cNvPr id="3" name="Freeform 55">
              <a:extLst>
                <a:ext uri="{FF2B5EF4-FFF2-40B4-BE49-F238E27FC236}">
                  <a16:creationId xmlns:a16="http://schemas.microsoft.com/office/drawing/2014/main" id="{DD51A2AC-8975-9136-A768-243F4BF59C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21 h 4000"/>
                <a:gd name="T2" fmla="*/ 7 w 4800"/>
                <a:gd name="T3" fmla="*/ 14 h 4000"/>
                <a:gd name="T4" fmla="*/ 119 w 4800"/>
                <a:gd name="T5" fmla="*/ 14 h 4000"/>
                <a:gd name="T6" fmla="*/ 119 w 4800"/>
                <a:gd name="T7" fmla="*/ 7 h 4000"/>
                <a:gd name="T8" fmla="*/ 126 w 4800"/>
                <a:gd name="T9" fmla="*/ 0 h 4000"/>
                <a:gd name="T10" fmla="*/ 133 w 4800"/>
                <a:gd name="T11" fmla="*/ 7 h 4000"/>
                <a:gd name="T12" fmla="*/ 133 w 4800"/>
                <a:gd name="T13" fmla="*/ 90 h 4000"/>
                <a:gd name="T14" fmla="*/ 126 w 4800"/>
                <a:gd name="T15" fmla="*/ 97 h 4000"/>
                <a:gd name="T16" fmla="*/ 14 w 4800"/>
                <a:gd name="T17" fmla="*/ 97 h 4000"/>
                <a:gd name="T18" fmla="*/ 14 w 4800"/>
                <a:gd name="T19" fmla="*/ 104 h 4000"/>
                <a:gd name="T20" fmla="*/ 7 w 4800"/>
                <a:gd name="T21" fmla="*/ 111 h 4000"/>
                <a:gd name="T22" fmla="*/ 0 w 4800"/>
                <a:gd name="T23" fmla="*/ 104 h 4000"/>
                <a:gd name="T24" fmla="*/ 0 w 4800"/>
                <a:gd name="T25" fmla="*/ 21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4" name="Freeform 56">
              <a:extLst>
                <a:ext uri="{FF2B5EF4-FFF2-40B4-BE49-F238E27FC236}">
                  <a16:creationId xmlns:a16="http://schemas.microsoft.com/office/drawing/2014/main" id="{89876D00-1287-9A7E-A967-23FD248153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4 h 375"/>
                <a:gd name="T2" fmla="*/ 7 w 500"/>
                <a:gd name="T3" fmla="*/ 11 h 375"/>
                <a:gd name="T4" fmla="*/ 14 w 500"/>
                <a:gd name="T5" fmla="*/ 4 h 375"/>
                <a:gd name="T6" fmla="*/ 11 w 500"/>
                <a:gd name="T7" fmla="*/ 0 h 375"/>
                <a:gd name="T8" fmla="*/ 7 w 500"/>
                <a:gd name="T9" fmla="*/ 4 h 375"/>
                <a:gd name="T10" fmla="*/ 7 w 500"/>
                <a:gd name="T11" fmla="*/ 11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5" name="Line 57">
              <a:extLst>
                <a:ext uri="{FF2B5EF4-FFF2-40B4-BE49-F238E27FC236}">
                  <a16:creationId xmlns:a16="http://schemas.microsoft.com/office/drawing/2014/main" id="{24945483-DA13-4C3B-3745-3A55ADD9853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6" name="Freeform 58">
              <a:extLst>
                <a:ext uri="{FF2B5EF4-FFF2-40B4-BE49-F238E27FC236}">
                  <a16:creationId xmlns:a16="http://schemas.microsoft.com/office/drawing/2014/main" id="{F00B0D0E-64FA-B1B4-4F95-F015457F2E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14 w 500"/>
                <a:gd name="T1" fmla="*/ 0 h 250"/>
                <a:gd name="T2" fmla="*/ 7 w 500"/>
                <a:gd name="T3" fmla="*/ 7 h 250"/>
                <a:gd name="T4" fmla="*/ 0 w 500"/>
                <a:gd name="T5" fmla="*/ 7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7" name="Freeform 59">
              <a:extLst>
                <a:ext uri="{FF2B5EF4-FFF2-40B4-BE49-F238E27FC236}">
                  <a16:creationId xmlns:a16="http://schemas.microsoft.com/office/drawing/2014/main" id="{58A8FED3-95CC-55D8-4345-ED44A41781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4 w 250"/>
                <a:gd name="T3" fmla="*/ 4 h 250"/>
                <a:gd name="T4" fmla="*/ 7 w 250"/>
                <a:gd name="T5" fmla="*/ 0 h 250"/>
                <a:gd name="T6" fmla="*/ 7 w 250"/>
                <a:gd name="T7" fmla="*/ 7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</p:grpSp>
    </p:spTree>
    <p:extLst>
      <p:ext uri="{BB962C8B-B14F-4D97-AF65-F5344CB8AC3E}">
        <p14:creationId xmlns:p14="http://schemas.microsoft.com/office/powerpoint/2010/main" val="13107224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>
            <a:extLst>
              <a:ext uri="{FF2B5EF4-FFF2-40B4-BE49-F238E27FC236}">
                <a16:creationId xmlns:a16="http://schemas.microsoft.com/office/drawing/2014/main" id="{BA849F34-92D5-23A1-2063-0DFA912C5E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EAD63918-D2F0-418F-A720-535C7C59ED8B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6147" name="Rectangle 2">
            <a:extLst>
              <a:ext uri="{FF2B5EF4-FFF2-40B4-BE49-F238E27FC236}">
                <a16:creationId xmlns:a16="http://schemas.microsoft.com/office/drawing/2014/main" id="{B953927F-A83C-49DA-384E-902B8837617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15053" y="223009"/>
            <a:ext cx="9448800" cy="695325"/>
          </a:xfrm>
        </p:spPr>
        <p:txBody>
          <a:bodyPr/>
          <a:lstStyle/>
          <a:p>
            <a:pPr eaLnBrk="1" hangingPunct="1"/>
            <a:r>
              <a:rPr lang="en-US" altLang="en-US" sz="2750" b="0" dirty="0">
                <a:latin typeface="Invention Light" panose="020B04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Fixed Effects Model – Estimation with two time periods</a:t>
            </a:r>
          </a:p>
        </p:txBody>
      </p:sp>
      <p:sp>
        <p:nvSpPr>
          <p:cNvPr id="6148" name="Rectangle 3">
            <a:extLst>
              <a:ext uri="{FF2B5EF4-FFF2-40B4-BE49-F238E27FC236}">
                <a16:creationId xmlns:a16="http://schemas.microsoft.com/office/drawing/2014/main" id="{8C944EC0-8B9E-E69E-2DF0-C2FCB3D4A49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18763" y="1166813"/>
            <a:ext cx="11550149" cy="4411027"/>
          </a:xfrm>
        </p:spPr>
        <p:txBody>
          <a:bodyPr/>
          <a:lstStyle/>
          <a:p>
            <a:pPr eaLnBrk="1" hangingPunct="1">
              <a:spcBef>
                <a:spcPct val="10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Consider a simple model with 2 time periods (Pre and Post):</a:t>
            </a:r>
          </a:p>
          <a:p>
            <a:pPr eaLnBrk="1" hangingPunct="1">
              <a:spcBef>
                <a:spcPct val="10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10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Expanding and Differencing for each individual results in the elimination of the unobserved variable </a:t>
            </a:r>
            <a:r>
              <a:rPr lang="el-GR" altLang="en-US" sz="1800" dirty="0"/>
              <a:t>α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altLang="en-US" sz="1800" dirty="0">
                <a:latin typeface="Invention" panose="020B0503020008020204" pitchFamily="34" charset="0"/>
              </a:rPr>
              <a:t> . </a:t>
            </a:r>
          </a:p>
          <a:p>
            <a:pPr eaLnBrk="1" hangingPunct="1">
              <a:spcBef>
                <a:spcPct val="10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10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10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10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10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Estimating change in NRx as a function of change in details produces detail estimate for the fixed effects model after controlling for all time invariant variables.</a:t>
            </a:r>
          </a:p>
          <a:p>
            <a:pPr eaLnBrk="1" hangingPunct="1">
              <a:spcBef>
                <a:spcPct val="10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</p:txBody>
      </p:sp>
      <p:graphicFrame>
        <p:nvGraphicFramePr>
          <p:cNvPr id="6149" name="Object 1">
            <a:extLst>
              <a:ext uri="{FF2B5EF4-FFF2-40B4-BE49-F238E27FC236}">
                <a16:creationId xmlns:a16="http://schemas.microsoft.com/office/drawing/2014/main" id="{1DB8D25E-8FF8-48F6-1940-028087ECA2C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45290366"/>
              </p:ext>
            </p:extLst>
          </p:nvPr>
        </p:nvGraphicFramePr>
        <p:xfrm>
          <a:off x="1896139" y="1686767"/>
          <a:ext cx="3470275" cy="490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1739880" imgH="228600" progId="Equation.3">
                  <p:embed/>
                </p:oleObj>
              </mc:Choice>
              <mc:Fallback>
                <p:oleObj name="Equation" r:id="rId3" imgW="1739880" imgH="228600" progId="Equation.3">
                  <p:embed/>
                  <p:pic>
                    <p:nvPicPr>
                      <p:cNvPr id="6149" name="Object 1">
                        <a:extLst>
                          <a:ext uri="{FF2B5EF4-FFF2-40B4-BE49-F238E27FC236}">
                            <a16:creationId xmlns:a16="http://schemas.microsoft.com/office/drawing/2014/main" id="{1DB8D25E-8FF8-48F6-1940-028087ECA2C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96139" y="1686767"/>
                        <a:ext cx="3470275" cy="490538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150" name="Object 2">
            <a:extLst>
              <a:ext uri="{FF2B5EF4-FFF2-40B4-BE49-F238E27FC236}">
                <a16:creationId xmlns:a16="http://schemas.microsoft.com/office/drawing/2014/main" id="{52EB3CE6-D33F-D641-5EF0-F8DFA6B78F8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41331472"/>
              </p:ext>
            </p:extLst>
          </p:nvPr>
        </p:nvGraphicFramePr>
        <p:xfrm>
          <a:off x="1896139" y="2986628"/>
          <a:ext cx="8097838" cy="1511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5" imgW="4152600" imgH="736560" progId="Equation.3">
                  <p:embed/>
                </p:oleObj>
              </mc:Choice>
              <mc:Fallback>
                <p:oleObj name="Equation" r:id="rId5" imgW="4152600" imgH="736560" progId="Equation.3">
                  <p:embed/>
                  <p:pic>
                    <p:nvPicPr>
                      <p:cNvPr id="6150" name="Object 2">
                        <a:extLst>
                          <a:ext uri="{FF2B5EF4-FFF2-40B4-BE49-F238E27FC236}">
                            <a16:creationId xmlns:a16="http://schemas.microsoft.com/office/drawing/2014/main" id="{52EB3CE6-D33F-D641-5EF0-F8DFA6B78F8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96139" y="2986628"/>
                        <a:ext cx="8097838" cy="1511300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lide Number Placeholder 3">
            <a:extLst>
              <a:ext uri="{FF2B5EF4-FFF2-40B4-BE49-F238E27FC236}">
                <a16:creationId xmlns:a16="http://schemas.microsoft.com/office/drawing/2014/main" id="{AF62C5C2-29BD-B4CC-4CED-6C1A3A561E8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342A6DF2-DF84-4858-92FF-781E670EA256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5AF116EA-1521-D540-E00D-BEA3D5007B3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97687" y="157161"/>
            <a:ext cx="11689513" cy="695325"/>
          </a:xfrm>
        </p:spPr>
        <p:txBody>
          <a:bodyPr/>
          <a:lstStyle/>
          <a:p>
            <a:pPr eaLnBrk="1" hangingPunct="1"/>
            <a:r>
              <a:rPr lang="en-US" altLang="en-US" sz="2750" b="0" dirty="0">
                <a:latin typeface="Invention Light" panose="020B04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Fixed Effects Model – Estimation with more than two time periods</a:t>
            </a:r>
          </a:p>
        </p:txBody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C34F11B8-EEAD-74AA-442C-9B35F792990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33153" y="1009649"/>
            <a:ext cx="11525693" cy="5386387"/>
          </a:xfrm>
        </p:spPr>
        <p:txBody>
          <a:bodyPr/>
          <a:lstStyle/>
          <a:p>
            <a:pPr eaLnBrk="1" hangingPunct="1">
              <a:spcBef>
                <a:spcPct val="10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Consider the Fixed Effects model with more than two time points per individual:</a:t>
            </a:r>
          </a:p>
          <a:p>
            <a:pPr eaLnBrk="1" hangingPunct="1">
              <a:spcBef>
                <a:spcPct val="10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eaLnBrk="1" hangingPunct="1">
              <a:spcBef>
                <a:spcPct val="10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Estimation is done by differencing the “mean across time” for each individual (i.e., centering the variables):</a:t>
            </a: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One trick to simplify the estimation is to “condition out” the </a:t>
            </a:r>
            <a:r>
              <a:rPr lang="el-GR" altLang="en-US" sz="1800" dirty="0"/>
              <a:t>α</a:t>
            </a:r>
            <a:r>
              <a:rPr lang="en-US" altLang="en-US" sz="1800" baseline="-25000" dirty="0"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altLang="en-US" sz="1800" dirty="0">
                <a:latin typeface="Invention" panose="020B0503020008020204" pitchFamily="34" charset="0"/>
              </a:rPr>
              <a:t>’s. Conditioning out is achieved by centering the individual level variables across time for </a:t>
            </a:r>
            <a:r>
              <a:rPr lang="en-US" altLang="en-US" sz="1800" u="sng" dirty="0">
                <a:latin typeface="Invention" panose="020B0503020008020204" pitchFamily="34" charset="0"/>
              </a:rPr>
              <a:t>each</a:t>
            </a:r>
            <a:r>
              <a:rPr lang="en-US" altLang="en-US" sz="1800" dirty="0">
                <a:latin typeface="Invention" panose="020B0503020008020204" pitchFamily="34" charset="0"/>
              </a:rPr>
              <a:t> individual. Then, regress the centered variables along with time indicators.</a:t>
            </a:r>
          </a:p>
          <a:p>
            <a:pPr lvl="1"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spcBef>
                <a:spcPct val="5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  <a:p>
            <a:pPr lvl="1"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This is automatically done using ABSORB statement in PROC GLM.</a:t>
            </a:r>
          </a:p>
          <a:p>
            <a:pPr lvl="1" eaLnBrk="1" hangingPunct="1">
              <a:spcBef>
                <a:spcPct val="50000"/>
              </a:spcBef>
              <a:buFont typeface="Arial" panose="020B0604020202020204" pitchFamily="34" charset="0"/>
              <a:buNone/>
            </a:pPr>
            <a:r>
              <a:rPr lang="en-US" altLang="en-US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PROC GLM DATA=</a:t>
            </a:r>
            <a:r>
              <a:rPr lang="en-US" altLang="en-US" dirty="0" err="1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abc</a:t>
            </a:r>
            <a:r>
              <a:rPr lang="en-US" altLang="en-US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ABSORB </a:t>
            </a:r>
            <a:r>
              <a:rPr lang="en-US" altLang="en-US" dirty="0" err="1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phys_id</a:t>
            </a:r>
            <a:r>
              <a:rPr lang="en-US" altLang="en-US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CLASS </a:t>
            </a:r>
            <a:r>
              <a:rPr lang="en-US" altLang="en-US" dirty="0" err="1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year_month</a:t>
            </a:r>
            <a:r>
              <a:rPr lang="en-US" altLang="en-US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MODEL NRx = </a:t>
            </a:r>
            <a:r>
              <a:rPr lang="en-US" altLang="en-US" dirty="0" err="1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year_month</a:t>
            </a:r>
            <a:r>
              <a:rPr lang="en-US" altLang="en-US" dirty="0">
                <a:solidFill>
                  <a:srgbClr val="00857C"/>
                </a:solidFill>
                <a:latin typeface="Invention" panose="020B0503020008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Details  / SOLUTION;</a:t>
            </a:r>
          </a:p>
          <a:p>
            <a:pPr lvl="1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en-US" sz="1800" dirty="0">
              <a:solidFill>
                <a:schemeClr val="accent2"/>
              </a:solidFill>
              <a:latin typeface="Invention" panose="020B0503020008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eaLnBrk="1" hangingPunct="1">
              <a:spcBef>
                <a:spcPct val="100000"/>
              </a:spcBef>
            </a:pPr>
            <a:endParaRPr lang="en-US" altLang="en-US" sz="1800" dirty="0">
              <a:latin typeface="Invention" panose="020B0503020008020204" pitchFamily="34" charset="0"/>
            </a:endParaRPr>
          </a:p>
        </p:txBody>
      </p:sp>
      <p:graphicFrame>
        <p:nvGraphicFramePr>
          <p:cNvPr id="7173" name="Object 1">
            <a:extLst>
              <a:ext uri="{FF2B5EF4-FFF2-40B4-BE49-F238E27FC236}">
                <a16:creationId xmlns:a16="http://schemas.microsoft.com/office/drawing/2014/main" id="{761D1AC5-26B6-B562-A91D-C81214C8F31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32268174"/>
              </p:ext>
            </p:extLst>
          </p:nvPr>
        </p:nvGraphicFramePr>
        <p:xfrm>
          <a:off x="4013201" y="1544637"/>
          <a:ext cx="3470275" cy="490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1739880" imgH="228600" progId="Equation.3">
                  <p:embed/>
                </p:oleObj>
              </mc:Choice>
              <mc:Fallback>
                <p:oleObj name="Equation" r:id="rId3" imgW="1739880" imgH="228600" progId="Equation.3">
                  <p:embed/>
                  <p:pic>
                    <p:nvPicPr>
                      <p:cNvPr id="7173" name="Object 1">
                        <a:extLst>
                          <a:ext uri="{FF2B5EF4-FFF2-40B4-BE49-F238E27FC236}">
                            <a16:creationId xmlns:a16="http://schemas.microsoft.com/office/drawing/2014/main" id="{761D1AC5-26B6-B562-A91D-C81214C8F31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13201" y="1544637"/>
                        <a:ext cx="3470275" cy="490538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174" name="Object 4">
            <a:extLst>
              <a:ext uri="{FF2B5EF4-FFF2-40B4-BE49-F238E27FC236}">
                <a16:creationId xmlns:a16="http://schemas.microsoft.com/office/drawing/2014/main" id="{CA26D90D-F54C-B578-7765-D9A465E81FF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44731483"/>
              </p:ext>
            </p:extLst>
          </p:nvPr>
        </p:nvGraphicFramePr>
        <p:xfrm>
          <a:off x="4013201" y="3542094"/>
          <a:ext cx="2836863" cy="1112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5" imgW="2836800" imgH="1112760" progId="Equation.3">
                  <p:embed/>
                </p:oleObj>
              </mc:Choice>
              <mc:Fallback>
                <p:oleObj name="Equation" r:id="rId5" imgW="2836800" imgH="1112760" progId="Equation.3">
                  <p:embed/>
                  <p:pic>
                    <p:nvPicPr>
                      <p:cNvPr id="7174" name="Object 4">
                        <a:extLst>
                          <a:ext uri="{FF2B5EF4-FFF2-40B4-BE49-F238E27FC236}">
                            <a16:creationId xmlns:a16="http://schemas.microsoft.com/office/drawing/2014/main" id="{CA26D90D-F54C-B578-7765-D9A465E81FF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13201" y="3542094"/>
                        <a:ext cx="2836863" cy="11128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3">
            <a:extLst>
              <a:ext uri="{FF2B5EF4-FFF2-40B4-BE49-F238E27FC236}">
                <a16:creationId xmlns:a16="http://schemas.microsoft.com/office/drawing/2014/main" id="{42126147-8223-C496-5E36-3F1BB637A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8EA82D84-F311-45EF-B129-A42543E8E504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8195" name="Rectangle 2">
            <a:extLst>
              <a:ext uri="{FF2B5EF4-FFF2-40B4-BE49-F238E27FC236}">
                <a16:creationId xmlns:a16="http://schemas.microsoft.com/office/drawing/2014/main" id="{2ACBAA0E-0D8B-2E6A-197C-DC12F1803D4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69333" y="210929"/>
            <a:ext cx="9448800" cy="695325"/>
          </a:xfrm>
        </p:spPr>
        <p:txBody>
          <a:bodyPr/>
          <a:lstStyle/>
          <a:p>
            <a:pPr eaLnBrk="1" hangingPunct="1"/>
            <a:r>
              <a:rPr lang="en-US" altLang="en-US" sz="2750" b="0" dirty="0">
                <a:latin typeface="Invention Light" panose="020B0403020008020204" pitchFamily="34" charset="0"/>
              </a:rPr>
              <a:t>OLS / RE / FE Methods - Example</a:t>
            </a:r>
          </a:p>
        </p:txBody>
      </p:sp>
      <p:sp>
        <p:nvSpPr>
          <p:cNvPr id="8196" name="Rectangle 3">
            <a:extLst>
              <a:ext uri="{FF2B5EF4-FFF2-40B4-BE49-F238E27FC236}">
                <a16:creationId xmlns:a16="http://schemas.microsoft.com/office/drawing/2014/main" id="{019E1B15-F781-6E0F-5CDB-B3D09B5E496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7319453" y="2098269"/>
            <a:ext cx="4019107" cy="2661462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Note changes in Lagged NRx and Details (while non significant samples)</a:t>
            </a:r>
          </a:p>
          <a:p>
            <a:pPr eaLnBrk="1" hangingPunct="1">
              <a:spcBef>
                <a:spcPct val="50000"/>
              </a:spcBef>
            </a:pPr>
            <a:r>
              <a:rPr lang="en-US" altLang="en-US" sz="1800" dirty="0">
                <a:latin typeface="Invention" panose="020B0503020008020204" pitchFamily="34" charset="0"/>
              </a:rPr>
              <a:t>Stability differences in GRPNAS and GRPOTC</a:t>
            </a:r>
          </a:p>
        </p:txBody>
      </p:sp>
      <p:pic>
        <p:nvPicPr>
          <p:cNvPr id="8197" name="Picture 5">
            <a:extLst>
              <a:ext uri="{FF2B5EF4-FFF2-40B4-BE49-F238E27FC236}">
                <a16:creationId xmlns:a16="http://schemas.microsoft.com/office/drawing/2014/main" id="{B70543D6-469B-F291-D122-38550D2452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944" y="1032908"/>
            <a:ext cx="6441411" cy="525735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Number Placeholder 3">
            <a:extLst>
              <a:ext uri="{FF2B5EF4-FFF2-40B4-BE49-F238E27FC236}">
                <a16:creationId xmlns:a16="http://schemas.microsoft.com/office/drawing/2014/main" id="{3612701C-9425-553D-BAC7-C2524E3123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fld id="{F145DF22-2BF6-4BDB-9C19-0A35D310BC62}" type="slidenum">
              <a:rPr lang="en-US" altLang="en-US" b="0">
                <a:solidFill>
                  <a:srgbClr val="000000"/>
                </a:solidFill>
              </a:rPr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US" altLang="en-US" b="0">
              <a:solidFill>
                <a:srgbClr val="000000"/>
              </a:solidFill>
            </a:endParaRPr>
          </a:p>
        </p:txBody>
      </p:sp>
      <p:sp>
        <p:nvSpPr>
          <p:cNvPr id="9219" name="Rectangle 2">
            <a:extLst>
              <a:ext uri="{FF2B5EF4-FFF2-40B4-BE49-F238E27FC236}">
                <a16:creationId xmlns:a16="http://schemas.microsoft.com/office/drawing/2014/main" id="{7391C742-F103-197B-FD7A-05B383DA6EF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2076450" y="2100264"/>
            <a:ext cx="8135938" cy="1292225"/>
          </a:xfrm>
        </p:spPr>
        <p:txBody>
          <a:bodyPr/>
          <a:lstStyle/>
          <a:p>
            <a:pPr algn="ctr" eaLnBrk="1" hangingPunct="1">
              <a:spcBef>
                <a:spcPct val="50000"/>
              </a:spcBef>
              <a:buFont typeface="Wingdings" panose="05000000000000000000" pitchFamily="2" charset="2"/>
              <a:buNone/>
            </a:pPr>
            <a:r>
              <a:rPr lang="en-US" altLang="en-US" sz="2400" dirty="0">
                <a:latin typeface="Invention" panose="020B0503020008020204" pitchFamily="34" charset="0"/>
              </a:rPr>
              <a:t>Details about Longitudinal Data Analysis</a:t>
            </a:r>
          </a:p>
          <a:p>
            <a:pPr algn="ctr" eaLnBrk="1" hangingPunct="1">
              <a:spcBef>
                <a:spcPct val="50000"/>
              </a:spcBef>
              <a:buFont typeface="Wingdings" panose="05000000000000000000" pitchFamily="2" charset="2"/>
              <a:buNone/>
            </a:pPr>
            <a:r>
              <a:rPr lang="en-US" altLang="en-US" dirty="0">
                <a:latin typeface="Invention" panose="020B0503020008020204" pitchFamily="34" charset="0"/>
              </a:rPr>
              <a:t> Prof. Allison’s ideas on OLS, Random and Fixed Effects models</a:t>
            </a:r>
          </a:p>
          <a:p>
            <a:pPr algn="ctr" eaLnBrk="1" hangingPunct="1">
              <a:spcBef>
                <a:spcPct val="50000"/>
              </a:spcBef>
              <a:buFont typeface="Wingdings" panose="05000000000000000000" pitchFamily="2" charset="2"/>
              <a:buNone/>
            </a:pPr>
            <a:r>
              <a:rPr lang="en-US" altLang="en-US" dirty="0">
                <a:latin typeface="Invention" panose="020B0503020008020204" pitchFamily="34" charset="0"/>
              </a:rPr>
              <a:t>Reference: </a:t>
            </a:r>
            <a:r>
              <a:rPr lang="en-US" altLang="en-US" i="1" dirty="0">
                <a:latin typeface="Invention" panose="020B0503020008020204" pitchFamily="34" charset="0"/>
              </a:rPr>
              <a:t>Fixed Effects Regression Methods for Longitudinal Data</a:t>
            </a:r>
            <a:r>
              <a:rPr lang="en-US" altLang="en-US" dirty="0">
                <a:latin typeface="Invention" panose="020B0503020008020204" pitchFamily="34" charset="0"/>
              </a:rPr>
              <a:t> by Paul D. Allison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heme/theme1.xml><?xml version="1.0" encoding="utf-8"?>
<a:theme xmlns:a="http://schemas.openxmlformats.org/drawingml/2006/main" name="Merck 16:9 PPT Theme">
  <a:themeElements>
    <a:clrScheme name="Custom 30">
      <a:dk1>
        <a:srgbClr val="0C2340"/>
      </a:dk1>
      <a:lt1>
        <a:srgbClr val="FFFFFF"/>
      </a:lt1>
      <a:dk2>
        <a:srgbClr val="688CE8"/>
      </a:dk2>
      <a:lt2>
        <a:srgbClr val="69B8F7"/>
      </a:lt2>
      <a:accent1>
        <a:srgbClr val="00857C"/>
      </a:accent1>
      <a:accent2>
        <a:srgbClr val="6ECEB2"/>
      </a:accent2>
      <a:accent3>
        <a:srgbClr val="BFED33"/>
      </a:accent3>
      <a:accent4>
        <a:srgbClr val="0C2340"/>
      </a:accent4>
      <a:accent5>
        <a:srgbClr val="FFF063"/>
      </a:accent5>
      <a:accent6>
        <a:srgbClr val="5350E4"/>
      </a:accent6>
      <a:hlink>
        <a:srgbClr val="11867B"/>
      </a:hlink>
      <a:folHlink>
        <a:srgbClr val="90C4D8"/>
      </a:folHlink>
    </a:clrScheme>
    <a:fontScheme name="Merck font theme">
      <a:majorFont>
        <a:latin typeface="Invention Light"/>
        <a:ea typeface=""/>
        <a:cs typeface=""/>
      </a:majorFont>
      <a:minorFont>
        <a:latin typeface="Invention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dirty="0"/>
        </a:defPPr>
      </a:lstStyle>
    </a:txDef>
  </a:objectDefaults>
  <a:extraClrSchemeLst/>
  <a:custClrLst>
    <a:custClr name="Merck Teal">
      <a:srgbClr val="00857C"/>
    </a:custClr>
    <a:custClr name="White">
      <a:srgbClr val="FFFFFF"/>
    </a:custClr>
    <a:custClr name="Merck Blue">
      <a:srgbClr val="0C2340"/>
    </a:custClr>
    <a:custClr name="Merck Light Teal">
      <a:srgbClr val="6ECEB2"/>
    </a:custClr>
    <a:custClr name="Merck Off-White">
      <a:srgbClr val="F7F7F7"/>
    </a:custClr>
    <a:custClr name="Merck Lime">
      <a:srgbClr val="BFED33"/>
    </a:custClr>
    <a:custClr name="Merck Lemon">
      <a:srgbClr val="FFF063"/>
    </a:custClr>
    <a:custClr name="Merck Pastel Blue">
      <a:srgbClr val="69B8F7"/>
    </a:custClr>
    <a:custClr name="Merck Vista Blue">
      <a:srgbClr val="688CE8"/>
    </a:custClr>
    <a:custClr name="Merck Rich Blue">
      <a:srgbClr val="5450E4"/>
    </a:custClr>
  </a:custClrLst>
  <a:extLst>
    <a:ext uri="{05A4C25C-085E-4340-85A3-A5531E510DB2}">
      <thm15:themeFamily xmlns:thm15="http://schemas.microsoft.com/office/thememl/2012/main" name="16_9_Merck" id="{6816B23C-D596-B641-AC59-82B9DBB69469}" vid="{EF4CFF4B-FCCB-D84B-8F15-5CBFC5300DB2}"/>
    </a:ext>
  </a:extLst>
</a:theme>
</file>

<file path=ppt/theme/theme2.xml><?xml version="1.0" encoding="utf-8"?>
<a:theme xmlns:a="http://schemas.openxmlformats.org/drawingml/2006/main" name="1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C47AAA0-3E17-4D17-ACCC-88C0FDDDE60C}">
  <we:reference id="e849ddb8-6bbd-4833-bd4b-59030099d63e" version="1.0.0.0" store="EXCatalog" storeType="EXCatalog"/>
  <we:alternateReferences>
    <we:reference id="WA200000113" version="1.0.0.0" store="en-US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F678FA71510043B195A1786C6312B0" ma:contentTypeVersion="8" ma:contentTypeDescription="Create a new document." ma:contentTypeScope="" ma:versionID="7f6794eae2ab671940660f7552b83b54">
  <xsd:schema xmlns:xsd="http://www.w3.org/2001/XMLSchema" xmlns:xs="http://www.w3.org/2001/XMLSchema" xmlns:p="http://schemas.microsoft.com/office/2006/metadata/properties" xmlns:ns2="4b8faba5-28e6-4bad-b285-1ce4ed480925" xmlns:ns3="0ed980d0-2f8d-42c7-8d66-3c434fc0ea4b" targetNamespace="http://schemas.microsoft.com/office/2006/metadata/properties" ma:root="true" ma:fieldsID="cafbccc572dc2c0e541192a55a97c71c" ns2:_="" ns3:_="">
    <xsd:import namespace="4b8faba5-28e6-4bad-b285-1ce4ed480925"/>
    <xsd:import namespace="0ed980d0-2f8d-42c7-8d66-3c434fc0ea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8faba5-28e6-4bad-b285-1ce4ed4809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3f5e642b-91f5-4888-b018-43334a040d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d980d0-2f8d-42c7-8d66-3c434fc0ea4b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9753bcd-dfeb-40f7-aae0-e49ee8cc79a7}" ma:internalName="TaxCatchAll" ma:showField="CatchAllData" ma:web="0ed980d0-2f8d-42c7-8d66-3c434fc0ea4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b8faba5-28e6-4bad-b285-1ce4ed480925">
      <Terms xmlns="http://schemas.microsoft.com/office/infopath/2007/PartnerControls"/>
    </lcf76f155ced4ddcb4097134ff3c332f>
    <TaxCatchAll xmlns="0ed980d0-2f8d-42c7-8d66-3c434fc0ea4b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5DBAF2B-E805-4C9F-908A-2CFAD1FCDE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8faba5-28e6-4bad-b285-1ce4ed480925"/>
    <ds:schemaRef ds:uri="0ed980d0-2f8d-42c7-8d66-3c434fc0ea4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A83BC6D-AD32-471F-B528-DB398937D951}">
  <ds:schemaRefs>
    <ds:schemaRef ds:uri="http://schemas.microsoft.com/office/2006/documentManagement/types"/>
    <ds:schemaRef ds:uri="http://www.w3.org/XML/1998/namespace"/>
    <ds:schemaRef ds:uri="http://purl.org/dc/terms/"/>
    <ds:schemaRef ds:uri="4b8faba5-28e6-4bad-b285-1ce4ed480925"/>
    <ds:schemaRef ds:uri="http://schemas.microsoft.com/office/2006/metadata/properties"/>
    <ds:schemaRef ds:uri="http://purl.org/dc/elements/1.1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0ed980d0-2f8d-42c7-8d66-3c434fc0ea4b"/>
  </ds:schemaRefs>
</ds:datastoreItem>
</file>

<file path=customXml/itemProps3.xml><?xml version="1.0" encoding="utf-8"?>
<ds:datastoreItem xmlns:ds="http://schemas.openxmlformats.org/officeDocument/2006/customXml" ds:itemID="{CA330566-0913-436A-BAE1-E2499F0F0D6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erck 16_9 default PPT template (1)</Template>
  <TotalTime>4646</TotalTime>
  <Words>2333</Words>
  <Application>Microsoft Office PowerPoint</Application>
  <PresentationFormat>Widescreen</PresentationFormat>
  <Paragraphs>266</Paragraphs>
  <Slides>26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37" baseType="lpstr">
      <vt:lpstr>Arial</vt:lpstr>
      <vt:lpstr>Arial Narrow</vt:lpstr>
      <vt:lpstr>Calibri</vt:lpstr>
      <vt:lpstr>Invention</vt:lpstr>
      <vt:lpstr>Invention Light</vt:lpstr>
      <vt:lpstr>Times New Roman</vt:lpstr>
      <vt:lpstr>Wingdings</vt:lpstr>
      <vt:lpstr>Merck 16:9 PPT Theme</vt:lpstr>
      <vt:lpstr>1_Default Design</vt:lpstr>
      <vt:lpstr>Picture</vt:lpstr>
      <vt:lpstr>Equation</vt:lpstr>
      <vt:lpstr>8. Model Part 3 </vt:lpstr>
      <vt:lpstr>PowerPoint Presentation</vt:lpstr>
      <vt:lpstr>PowerPoint Presentation</vt:lpstr>
      <vt:lpstr>Fixed Effects Model</vt:lpstr>
      <vt:lpstr>Fixed Effects Model</vt:lpstr>
      <vt:lpstr>Fixed Effects Model – Estimation with two time periods</vt:lpstr>
      <vt:lpstr>Fixed Effects Model – Estimation with more than two time periods</vt:lpstr>
      <vt:lpstr>OLS / RE / FE Methods - Example</vt:lpstr>
      <vt:lpstr>PowerPoint Presentation</vt:lpstr>
      <vt:lpstr>Concepts – Randomized Experiments vs. nonexperimental studies</vt:lpstr>
      <vt:lpstr>Concepts – Randomized Experiments vs. nonexperimental studies</vt:lpstr>
      <vt:lpstr>Concepts – Fixed Effects Methods</vt:lpstr>
      <vt:lpstr>Concepts – Fixed Effects Methods</vt:lpstr>
      <vt:lpstr>Concepts – Fixed Effects Methods (cont’d)</vt:lpstr>
      <vt:lpstr>Concepts – Fixed Effects Methods (cont’d)</vt:lpstr>
      <vt:lpstr>OLS / RE / FE Methods Exploration - 1</vt:lpstr>
      <vt:lpstr>OLS / RE / FE Methods Exploration - 1</vt:lpstr>
      <vt:lpstr>OLS / RE / FE Methods Exploration - 2</vt:lpstr>
      <vt:lpstr>OLS / RE / FE Methods Exploration - 3</vt:lpstr>
      <vt:lpstr>OLS / RE / FE Methods Exploration - 3</vt:lpstr>
      <vt:lpstr>OLS / RE / FE Methods Exploration - 4</vt:lpstr>
      <vt:lpstr>OLS / RE / FE Methods Exploration - 4</vt:lpstr>
      <vt:lpstr>OLS / RE / FE Methods Exploration - 5</vt:lpstr>
      <vt:lpstr>OLS / RE / FE Methods Exploration - 5</vt:lpstr>
      <vt:lpstr>OLS / RE / FE Methods - Exampl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D University</dc:title>
  <dc:subject>2022 presentation</dc:subject>
  <dc:creator>Sinha, Anurag</dc:creator>
  <cp:keywords/>
  <dc:description>For external audiences in the US and Canada</dc:description>
  <cp:lastModifiedBy>Maji, Pramit Kumar</cp:lastModifiedBy>
  <cp:revision>250</cp:revision>
  <dcterms:created xsi:type="dcterms:W3CDTF">2022-11-08T10:28:18Z</dcterms:created>
  <dcterms:modified xsi:type="dcterms:W3CDTF">2023-09-25T08:44:2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F678FA71510043B195A1786C6312B0</vt:lpwstr>
  </property>
  <property fmtid="{D5CDD505-2E9C-101B-9397-08002B2CF9AE}" pid="3" name="MSIP_Label_927fd646-07cb-4c4e-a107-4e4d6b30ba1b_Enabled">
    <vt:lpwstr>true</vt:lpwstr>
  </property>
  <property fmtid="{D5CDD505-2E9C-101B-9397-08002B2CF9AE}" pid="4" name="MSIP_Label_927fd646-07cb-4c4e-a107-4e4d6b30ba1b_SetDate">
    <vt:lpwstr>2023-02-20T10:11:15Z</vt:lpwstr>
  </property>
  <property fmtid="{D5CDD505-2E9C-101B-9397-08002B2CF9AE}" pid="5" name="MSIP_Label_927fd646-07cb-4c4e-a107-4e4d6b30ba1b_Method">
    <vt:lpwstr>Privileged</vt:lpwstr>
  </property>
  <property fmtid="{D5CDD505-2E9C-101B-9397-08002B2CF9AE}" pid="6" name="MSIP_Label_927fd646-07cb-4c4e-a107-4e4d6b30ba1b_Name">
    <vt:lpwstr>927fd646-07cb-4c4e-a107-4e4d6b30ba1b</vt:lpwstr>
  </property>
  <property fmtid="{D5CDD505-2E9C-101B-9397-08002B2CF9AE}" pid="7" name="MSIP_Label_927fd646-07cb-4c4e-a107-4e4d6b30ba1b_SiteId">
    <vt:lpwstr>a00de4ec-48a8-43a6-be74-e31274e2060d</vt:lpwstr>
  </property>
  <property fmtid="{D5CDD505-2E9C-101B-9397-08002B2CF9AE}" pid="8" name="MSIP_Label_927fd646-07cb-4c4e-a107-4e4d6b30ba1b_ActionId">
    <vt:lpwstr>327d2cb7-7ab1-4f63-99d4-4d87d73f3514</vt:lpwstr>
  </property>
  <property fmtid="{D5CDD505-2E9C-101B-9397-08002B2CF9AE}" pid="9" name="MSIP_Label_927fd646-07cb-4c4e-a107-4e4d6b30ba1b_ContentBits">
    <vt:lpwstr>1</vt:lpwstr>
  </property>
  <property fmtid="{D5CDD505-2E9C-101B-9397-08002B2CF9AE}" pid="10" name="MerckAIPLabel">
    <vt:lpwstr>Proprietary</vt:lpwstr>
  </property>
  <property fmtid="{D5CDD505-2E9C-101B-9397-08002B2CF9AE}" pid="11" name="MerckAIPDataExchange">
    <vt:lpwstr>!MRKMIP@Proprietary</vt:lpwstr>
  </property>
  <property fmtid="{D5CDD505-2E9C-101B-9397-08002B2CF9AE}" pid="12" name="_AdHocReviewCycleID">
    <vt:i4>-1282743079</vt:i4>
  </property>
  <property fmtid="{D5CDD505-2E9C-101B-9397-08002B2CF9AE}" pid="13" name="_NewReviewCycle">
    <vt:lpwstr/>
  </property>
  <property fmtid="{D5CDD505-2E9C-101B-9397-08002B2CF9AE}" pid="14" name="_EmailSubject">
    <vt:lpwstr>MMX - Day 2 &amp; 3 -Modules</vt:lpwstr>
  </property>
  <property fmtid="{D5CDD505-2E9C-101B-9397-08002B2CF9AE}" pid="15" name="_AuthorEmail">
    <vt:lpwstr>sarath.a@merck.com</vt:lpwstr>
  </property>
  <property fmtid="{D5CDD505-2E9C-101B-9397-08002B2CF9AE}" pid="16" name="_AuthorEmailDisplayName">
    <vt:lpwstr>A, Sarath</vt:lpwstr>
  </property>
</Properties>
</file>